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32"/>
  </p:notesMasterIdLst>
  <p:handoutMasterIdLst>
    <p:handoutMasterId r:id="rId33"/>
  </p:handoutMasterIdLst>
  <p:sldIdLst>
    <p:sldId id="3364" r:id="rId5"/>
    <p:sldId id="3319" r:id="rId6"/>
    <p:sldId id="3363" r:id="rId7"/>
    <p:sldId id="3365" r:id="rId8"/>
    <p:sldId id="3367" r:id="rId9"/>
    <p:sldId id="3374" r:id="rId10"/>
    <p:sldId id="3371" r:id="rId11"/>
    <p:sldId id="3345" r:id="rId12"/>
    <p:sldId id="3366" r:id="rId13"/>
    <p:sldId id="3378" r:id="rId14"/>
    <p:sldId id="3377" r:id="rId15"/>
    <p:sldId id="3375" r:id="rId16"/>
    <p:sldId id="3359" r:id="rId17"/>
    <p:sldId id="3373" r:id="rId18"/>
    <p:sldId id="3346" r:id="rId19"/>
    <p:sldId id="3376" r:id="rId20"/>
    <p:sldId id="3362" r:id="rId21"/>
    <p:sldId id="3321" r:id="rId22"/>
    <p:sldId id="3351" r:id="rId23"/>
    <p:sldId id="3372" r:id="rId24"/>
    <p:sldId id="3369" r:id="rId25"/>
    <p:sldId id="3370" r:id="rId26"/>
    <p:sldId id="258" r:id="rId27"/>
    <p:sldId id="259" r:id="rId28"/>
    <p:sldId id="260" r:id="rId29"/>
    <p:sldId id="261" r:id="rId30"/>
    <p:sldId id="262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B1377DE-B0F6-40BA-B838-9B909810862D}">
          <p14:sldIdLst>
            <p14:sldId id="3364"/>
            <p14:sldId id="3319"/>
            <p14:sldId id="3363"/>
            <p14:sldId id="3365"/>
            <p14:sldId id="3367"/>
            <p14:sldId id="3374"/>
            <p14:sldId id="3371"/>
            <p14:sldId id="3345"/>
            <p14:sldId id="3366"/>
            <p14:sldId id="3378"/>
            <p14:sldId id="3377"/>
            <p14:sldId id="3375"/>
            <p14:sldId id="3359"/>
          </p14:sldIdLst>
        </p14:section>
        <p14:section name="Role of Bid and Proposals in Sales" id="{8ADBC331-19DC-428F-8FDB-0E925D7FE24C}">
          <p14:sldIdLst>
            <p14:sldId id="3373"/>
            <p14:sldId id="3346"/>
            <p14:sldId id="3376"/>
            <p14:sldId id="3362"/>
            <p14:sldId id="3321"/>
            <p14:sldId id="3351"/>
          </p14:sldIdLst>
        </p14:section>
        <p14:section name="Supporting Materials" id="{9597E744-8989-47F8-A11D-F601DE24F45B}">
          <p14:sldIdLst>
            <p14:sldId id="3372"/>
            <p14:sldId id="3369"/>
            <p14:sldId id="3370"/>
            <p14:sldId id="258"/>
            <p14:sldId id="259"/>
            <p14:sldId id="260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43" userDrawn="1">
          <p15:clr>
            <a:srgbClr val="A4A3A4"/>
          </p15:clr>
        </p15:guide>
        <p15:guide id="3" orient="horz" pos="1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ppa Birch" initials="PB" lastIdx="10" clrIdx="0">
    <p:extLst>
      <p:ext uri="{19B8F6BF-5375-455C-9EA6-DF929625EA0E}">
        <p15:presenceInfo xmlns:p15="http://schemas.microsoft.com/office/powerpoint/2012/main" userId="S::pippa_pipster-solutions.co.uk#ext#@burnsmcd.onmicrosoft.com::18a951c0-56d8-4661-8c20-bb73c15e79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AEEF"/>
    <a:srgbClr val="ED7D31"/>
    <a:srgbClr val="01B0F0"/>
    <a:srgbClr val="2C3A91"/>
    <a:srgbClr val="21294A"/>
    <a:srgbClr val="FC9C01"/>
    <a:srgbClr val="0F0D12"/>
    <a:srgbClr val="141011"/>
    <a:srgbClr val="9ABC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0653" autoAdjust="0"/>
  </p:normalViewPr>
  <p:slideViewPr>
    <p:cSldViewPr snapToGrid="0">
      <p:cViewPr varScale="1">
        <p:scale>
          <a:sx n="105" d="100"/>
          <a:sy n="105" d="100"/>
        </p:scale>
        <p:origin x="744" y="192"/>
      </p:cViewPr>
      <p:guideLst>
        <p:guide orient="horz" pos="2160"/>
        <p:guide pos="243"/>
        <p:guide orient="horz" pos="1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6F86AB9-2D74-4C4F-A2A9-2EB72C749D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56469E-91BE-40C3-B395-A86FA5B9EC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B5E61-0275-4E57-85E1-496EF3BECF9F}" type="datetimeFigureOut">
              <a:rPr lang="en-US" smtClean="0"/>
              <a:t>9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CC034E-C460-4C31-9BEB-BED993B7519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405722-6AB9-4BCE-AB95-197D9E71E1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6DCD9-E053-4158-B4A0-10F82F5147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1276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2-04T20:18:54.749"/>
    </inkml:context>
    <inkml:brush xml:id="br0">
      <inkml:brushProperty name="width" value="0.2" units="cm"/>
      <inkml:brushProperty name="height" value="0.2" units="cm"/>
      <inkml:brushProperty name="color" value="#FFFFFF"/>
    </inkml:brush>
  </inkml:definitions>
  <inkml:trace contextRef="#ctx0" brushRef="#br0">0 1 24575,'3'38'0,"-3"-13"0,5 12 0,-5-14 0,3 3 0,1 0 0,0-3 0,3 2 0,-2-2 0,0 10 0,4 1 0,-3 1 0,4 0 0,-4-5 0,7 0 0,-7 6 0,12-8 0,-8 8 0,5-8 0,-6 7 0,7 1 0,-6 5 0,13-2 0,-2-1 0,3-3 0,1-3 0,-5 1 0,5-1 0,-1 6 0,3-2 0,6 3 0,-10-10 0,12 3 0,-12-4 0,8-1 0,-2 4 0,2-5 0,-1 2 0,1 1 0,-7-6 0,2 3 0,-3-6 0,5 5 0,-3-4 0,13 3 0,-3-4 0,7 1 0,-1-3 0,-3-1 0,2-3 0,1 3 0,1-4 0,3 4 0,-1-4 0,2 4 0,-4-4 0,-4 1 0,-9-6 0,-9-1 0,4-2 0,-3 0 0,5 0 0,6 6 0,3-4 0,2 6 0,0-7 0,3 2 0,-5 0 0,5-1 0,-7 1 0,0 0 0,1-5 0,2 5 0,2-5 0,-1 2 0,0 1 0,-10-1 0,-7-2 0,-9-1 0,-6 0 0,-4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2-04T20:18:54.750"/>
    </inkml:context>
    <inkml:brush xml:id="br0">
      <inkml:brushProperty name="width" value="0.2" units="cm"/>
      <inkml:brushProperty name="height" value="0.2" units="cm"/>
      <inkml:brushProperty name="color" value="#FFFFFF"/>
    </inkml:brush>
  </inkml:definitions>
  <inkml:trace contextRef="#ctx0" brushRef="#br0">354 0 24575,'6'16'0,"0"0"0,0-10 0,-3 2 0,7 1 0,-5-1 0,8 4 0,-1 2 0,3 2 0,3 7 0,-2-2 0,3 3 0,-7-4 0,0-1 0,-3-7 0,3 7 0,-4-5 0,4 6 0,-5-3 0,2 2 0,3 1 0,1 0 0,5 3 0,-4-2 0,2-6 0,-9-2 0,2-6 0,-5 1 0,0-4 0,-2 2 0,1-3 0,-14 6 0,0 1 0,-12 5 0,0-2 0,-1 2 0,-2-4 0,3 1 0,-2-4 0,7 4 0,-1-7 0,-2 12 0,3-8 0,-5 9 0,2-5 0,4-1 0,-1 3 0,5-6 0,-2 3 0,2-3 0,1-2 0,-1 1 0,4-3 0,-1 3 0,1-1 0,1-1 0,-3 2 0,2-3 0,-2 1 0,4-2 0,1 2 0,-2-1 0,1 1 0,-4 2 0,2-4 0,-2 8 0,4-9 0,-6 8 0,8-6 0,-6 1 0,7-2 0,-6-2 0,5 1 0,-6 0 0,5 1 0,-5 2 0,-1 3 0,-1-1 0,-2 5 0,6-7 0,0 2 0,5-6 0,0 0 0,0-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33F19D-BD37-42BA-A75A-2894FBEB6B46}" type="datetimeFigureOut">
              <a:rPr lang="en-US" smtClean="0"/>
              <a:t>9/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4C6BDA-0434-41C4-A3E1-EE25D7E7BB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31870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ON’T FORGET TO HIDE THIS SLIDE!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79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endParaRPr lang="en-GB" dirty="0"/>
          </a:p>
          <a:p>
            <a:r>
              <a:rPr lang="en-GB" dirty="0"/>
              <a:t>See activities from Slide 20 onwards and choose based on audience, circumstance, and time available</a:t>
            </a:r>
          </a:p>
          <a:p>
            <a:r>
              <a:rPr lang="en-GB" dirty="0"/>
              <a:t>Feel free to create your ow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8559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ETORY</a:t>
            </a:r>
          </a:p>
          <a:p>
            <a:endParaRPr lang="en-GB" dirty="0"/>
          </a:p>
          <a:p>
            <a:r>
              <a:rPr lang="en-GB" dirty="0"/>
              <a:t>Play video of other bid professionals talking about how they got into bidding, their roles etc. (Need to get some content from APMP UK to embed (Marti)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8980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r>
              <a:rPr lang="en-GB" dirty="0"/>
              <a:t>Close of session and takeaway for audience</a:t>
            </a:r>
          </a:p>
          <a:p>
            <a:r>
              <a:rPr lang="en-GB" dirty="0"/>
              <a:t>Add links to LinkedIn, APMP website, your contact details (optional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5770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this section if appropriate to your audience, you want to focus on sales, and/or you have ti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0283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Animation will highlight Sales and Marke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630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Explain difference B2C and B2B and how we focus pre-</a:t>
            </a:r>
            <a:r>
              <a:rPr lang="en-US" dirty="0" err="1">
                <a:cs typeface="Calibri"/>
              </a:rPr>
              <a:t>dominently</a:t>
            </a:r>
            <a:r>
              <a:rPr lang="en-US" dirty="0">
                <a:cs typeface="Calibri"/>
              </a:rPr>
              <a:t> in B2B space for our care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5518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Do you know what profession this picture depicts? </a:t>
            </a:r>
            <a:endParaRPr lang="en-US" dirty="0"/>
          </a:p>
          <a:p>
            <a:r>
              <a:rPr lang="en-IN" dirty="0"/>
              <a:t>Would you like to be like her in a corporate world? </a:t>
            </a:r>
          </a:p>
          <a:p>
            <a:r>
              <a:rPr lang="en-IN" dirty="0"/>
              <a:t>This is synonymous with the Bid and Proposal Profession where the bid manager like an orchestrator makes people play on her command…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339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Do you want to be one? You will need to develop…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8850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lection of resources that you can use for the Icebreaker / activities, or create your ow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5679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 (Either Slide 21 or Slide 22)</a:t>
            </a:r>
            <a:br>
              <a:rPr lang="en-GB" dirty="0"/>
            </a:b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an show this slide, animate it (like pick-up cards), or run as a physical activity (pick-up cards)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Other areas to highlight might include:</a:t>
            </a:r>
          </a:p>
          <a:p>
            <a:r>
              <a:rPr lang="en-GB" b="1" dirty="0"/>
              <a:t>Understand the customer: </a:t>
            </a:r>
            <a:r>
              <a:rPr lang="en-GB" dirty="0"/>
              <a:t>Review and analyse the client’s requirements / tender documents</a:t>
            </a:r>
          </a:p>
          <a:p>
            <a:r>
              <a:rPr lang="en-GB" b="1" dirty="0"/>
              <a:t>Plan and Organise: </a:t>
            </a:r>
            <a:r>
              <a:rPr lang="en-GB" dirty="0"/>
              <a:t>Build proposal plan, manage strict deadlines, produce final documents</a:t>
            </a:r>
          </a:p>
          <a:p>
            <a:r>
              <a:rPr lang="en-GB" b="1" dirty="0"/>
              <a:t>Develop win strategy: </a:t>
            </a:r>
            <a:r>
              <a:rPr lang="en-GB" dirty="0"/>
              <a:t>Determine key messaging (win themes)</a:t>
            </a:r>
          </a:p>
          <a:p>
            <a:r>
              <a:rPr lang="en-GB" b="1" dirty="0"/>
              <a:t>Storytelling: </a:t>
            </a:r>
            <a:r>
              <a:rPr lang="en-GB" dirty="0"/>
              <a:t>Write original content, edit, proof-read, </a:t>
            </a:r>
          </a:p>
          <a:p>
            <a:r>
              <a:rPr lang="en-GB" b="1" dirty="0"/>
              <a:t>Design and Graphics: </a:t>
            </a:r>
            <a:r>
              <a:rPr lang="en-GB" dirty="0"/>
              <a:t>Page layouts and design, artwork for covers / dividers, presentation materials</a:t>
            </a:r>
          </a:p>
          <a:p>
            <a:r>
              <a:rPr lang="en-GB" b="1" dirty="0"/>
              <a:t>Work with others: </a:t>
            </a:r>
            <a:r>
              <a:rPr lang="en-GB" dirty="0"/>
              <a:t>Departments, partners, consortium members, supply chain etc.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863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5002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 (As Digital Pick-up cards)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an show this slide which is animated for virtual session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Other areas to highlight might include:</a:t>
            </a:r>
          </a:p>
          <a:p>
            <a:r>
              <a:rPr lang="en-GB" b="1" dirty="0"/>
              <a:t>Understand the customer: </a:t>
            </a:r>
            <a:r>
              <a:rPr lang="en-GB" dirty="0"/>
              <a:t>Review and analyse the client’s requirements / tender documents</a:t>
            </a:r>
          </a:p>
          <a:p>
            <a:r>
              <a:rPr lang="en-GB" b="1" dirty="0"/>
              <a:t>Plan and Organise: </a:t>
            </a:r>
            <a:r>
              <a:rPr lang="en-GB" dirty="0"/>
              <a:t>Build proposal plan, manage strict deadlines, produce final documents</a:t>
            </a:r>
          </a:p>
          <a:p>
            <a:r>
              <a:rPr lang="en-GB" b="1" dirty="0"/>
              <a:t>Develop win strategy: </a:t>
            </a:r>
            <a:r>
              <a:rPr lang="en-GB" dirty="0"/>
              <a:t>Determine key messaging (win themes)</a:t>
            </a:r>
          </a:p>
          <a:p>
            <a:r>
              <a:rPr lang="en-GB" b="1" dirty="0"/>
              <a:t>Storytelling: </a:t>
            </a:r>
            <a:r>
              <a:rPr lang="en-GB" dirty="0"/>
              <a:t>Write original content, edit, proof-read, </a:t>
            </a:r>
          </a:p>
          <a:p>
            <a:r>
              <a:rPr lang="en-GB" b="1" dirty="0"/>
              <a:t>Design and Graphics: </a:t>
            </a:r>
            <a:r>
              <a:rPr lang="en-GB" dirty="0"/>
              <a:t>Page layouts and design, artwork for covers / dividers, presentation materials</a:t>
            </a:r>
          </a:p>
          <a:p>
            <a:r>
              <a:rPr lang="en-GB" b="1" dirty="0"/>
              <a:t>Work with others: </a:t>
            </a:r>
            <a:r>
              <a:rPr lang="en-GB" dirty="0"/>
              <a:t>Departments, partners, consortium members, supply chain etc.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121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chemeClr val="bg1"/>
                </a:solidFill>
              </a:rPr>
              <a:t>OPTION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chemeClr val="bg1"/>
                </a:solidFill>
              </a:rPr>
              <a:t>Using a quiz to explain / start a discussion about elements of the bid process</a:t>
            </a:r>
          </a:p>
          <a:p>
            <a:endParaRPr lang="en-GB" dirty="0"/>
          </a:p>
          <a:p>
            <a:r>
              <a:rPr lang="en-GB" dirty="0"/>
              <a:t>Select a series of questions to ask (factoring in the time you have available to you)</a:t>
            </a:r>
          </a:p>
          <a:p>
            <a:r>
              <a:rPr lang="en-GB" dirty="0"/>
              <a:t>Assume the audience will not know the answers so keep it light and have some fun with what they’ve written / said and what the answers are. </a:t>
            </a:r>
          </a:p>
          <a:p>
            <a:r>
              <a:rPr lang="en-GB" dirty="0"/>
              <a:t>Make sure to include some that will generate fun responses (hot buttons / action captions)</a:t>
            </a:r>
          </a:p>
          <a:p>
            <a:r>
              <a:rPr lang="en-GB" dirty="0"/>
              <a:t>Feel free to add your own questions and respons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8923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</a:t>
            </a:r>
          </a:p>
          <a:p>
            <a:endParaRPr lang="en-GB" dirty="0"/>
          </a:p>
          <a:p>
            <a:r>
              <a:rPr lang="en-GB" dirty="0"/>
              <a:t>Use an APMP one from the BOK, or you might have one that your companies u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253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</a:t>
            </a:r>
          </a:p>
          <a:p>
            <a:endParaRPr lang="en-GB" dirty="0"/>
          </a:p>
          <a:p>
            <a:r>
              <a:rPr lang="en-GB" dirty="0"/>
              <a:t>A few options here: </a:t>
            </a:r>
          </a:p>
          <a:p>
            <a:r>
              <a:rPr lang="en-GB" dirty="0"/>
              <a:t>Create your own (like this one above)</a:t>
            </a:r>
          </a:p>
          <a:p>
            <a:r>
              <a:rPr lang="en-GB" dirty="0"/>
              <a:t>Depending on time / whether your session is a one-off or you’re doing multiple sessions you may want to co-create with your group</a:t>
            </a:r>
          </a:p>
          <a:p>
            <a:r>
              <a:rPr lang="en-GB" dirty="0"/>
              <a:t>Create one and then use it as a training / education aid with your grou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2243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 </a:t>
            </a:r>
          </a:p>
          <a:p>
            <a:endParaRPr lang="en-GB" dirty="0"/>
          </a:p>
          <a:p>
            <a:r>
              <a:rPr lang="en-GB" dirty="0"/>
              <a:t>Select some text that you have from your company (and old bid)</a:t>
            </a:r>
          </a:p>
          <a:p>
            <a:r>
              <a:rPr lang="en-GB" dirty="0"/>
              <a:t>Make sure it’s age appropriate</a:t>
            </a:r>
          </a:p>
          <a:p>
            <a:r>
              <a:rPr lang="en-GB" dirty="0"/>
              <a:t>Provide each group with the question, evaluation criteria, and the draft response (maybe something that’s around 4 pages long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219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</a:t>
            </a:r>
          </a:p>
          <a:p>
            <a:endParaRPr lang="en-GB" dirty="0"/>
          </a:p>
          <a:p>
            <a:r>
              <a:rPr lang="en-GB" dirty="0"/>
              <a:t>Maybe use and Exec Summary or Introduction Text</a:t>
            </a:r>
          </a:p>
          <a:p>
            <a:r>
              <a:rPr lang="en-GB" dirty="0"/>
              <a:t>Have paper / pens etc. or a Miro / Jam / Mural Board for them to collaborate on (if doing remotely)</a:t>
            </a:r>
          </a:p>
          <a:p>
            <a:r>
              <a:rPr lang="en-GB" dirty="0"/>
              <a:t>Again, remember to make it age appropriat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784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MANDATORY</a:t>
            </a:r>
          </a:p>
          <a:p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explain who you are, what you do and something interesting about you to get their atten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546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TIONAL</a:t>
            </a:r>
          </a:p>
          <a:p>
            <a:r>
              <a:rPr lang="en-GB" dirty="0"/>
              <a:t>If you have time you may want to do an icebreaker + an activity. If time is limited suggest just doing an activity</a:t>
            </a:r>
          </a:p>
          <a:p>
            <a:r>
              <a:rPr lang="en-GB" dirty="0"/>
              <a:t>Use your favourite or select from the Supporting Materials (Slide 20 onwards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21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endParaRPr lang="en-GB" dirty="0"/>
          </a:p>
          <a:p>
            <a:r>
              <a:rPr lang="en-GB" dirty="0"/>
              <a:t>Brief overview of your role and those you work with (bid colleagues)</a:t>
            </a:r>
          </a:p>
          <a:p>
            <a:r>
              <a:rPr lang="en-GB" dirty="0"/>
              <a:t>Type of company you work for / market area</a:t>
            </a:r>
          </a:p>
          <a:p>
            <a:r>
              <a:rPr lang="en-GB" dirty="0"/>
              <a:t>How you got in to the profession</a:t>
            </a:r>
          </a:p>
          <a:p>
            <a:endParaRPr lang="en-GB" dirty="0"/>
          </a:p>
          <a:p>
            <a:r>
              <a:rPr lang="en-GB" dirty="0"/>
              <a:t>NOTE: Careful not to use too much bid speak (if they don’t know what bids are it won’t make much sense)</a:t>
            </a:r>
          </a:p>
          <a:p>
            <a:r>
              <a:rPr lang="en-GB" dirty="0"/>
              <a:t>Potential to use ‘pick-up cards’ on in the examples from slide 21</a:t>
            </a:r>
          </a:p>
          <a:p>
            <a:r>
              <a:rPr lang="en-GB" dirty="0"/>
              <a:t>Bring out the importance of soft skills as much as hard skill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32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endParaRPr lang="en-GB" dirty="0"/>
          </a:p>
          <a:p>
            <a:r>
              <a:rPr lang="en-GB" dirty="0"/>
              <a:t>Reinforce that in bidding you get access to multiple people, skills, experiences from your organisation (and others you may collaborate with)</a:t>
            </a:r>
          </a:p>
          <a:p>
            <a:r>
              <a:rPr lang="en-GB" dirty="0"/>
              <a:t>About connecting, respecting other people’s subject matter expertise</a:t>
            </a:r>
          </a:p>
          <a:p>
            <a:r>
              <a:rPr lang="en-GB" dirty="0"/>
              <a:t>Bidding is a team spor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632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endParaRPr lang="en-GB" dirty="0"/>
          </a:p>
          <a:p>
            <a:r>
              <a:rPr lang="en-GB" dirty="0"/>
              <a:t>Aim here is to introduce a bit of conversation and engagement with the group. The importance is to focus on both hard and soft skills.</a:t>
            </a:r>
          </a:p>
          <a:p>
            <a:endParaRPr lang="en-GB" dirty="0"/>
          </a:p>
          <a:p>
            <a:r>
              <a:rPr lang="en-GB" dirty="0"/>
              <a:t>By highlighting what they like / are interested in (both personally but also in their studies) will do two things:</a:t>
            </a:r>
          </a:p>
          <a:p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Show that we’re all unique in our skills and inter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ake what interests them and why, and explain how their interest / likes can be applied in a bidding contex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Open to interpretation, but images here include: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port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ravel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inning / being successful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Reading / Research / Creative thinking/writ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Desig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Hobbies such as cars, cooking/baking, DIY, gaming, music, film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ravel and explor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ustainability initiativ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pending time with friends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608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r>
              <a:rPr lang="en-GB" dirty="0"/>
              <a:t>Prompt audience to think about what their motivators a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845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</a:t>
            </a:r>
          </a:p>
          <a:p>
            <a:endParaRPr lang="en-GB" dirty="0"/>
          </a:p>
          <a:p>
            <a:r>
              <a:rPr lang="en-GB" dirty="0"/>
              <a:t>Maybe talk about your experience and what your Passion, Mission, Profession and Vocation are</a:t>
            </a:r>
          </a:p>
          <a:p>
            <a:r>
              <a:rPr lang="en-GB" dirty="0"/>
              <a:t>Invite your host (teacher / lecturer) to do the same</a:t>
            </a:r>
          </a:p>
          <a:p>
            <a:r>
              <a:rPr lang="en-GB" dirty="0"/>
              <a:t>Ask them to think about what there’s might be, and how it might inform where they go next (they don’t have to tell you or share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C6BDA-0434-41C4-A3E1-EE25D7E7BB2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553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MP Bran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627981FC-D4F6-4B42-9C69-D94FAA3059B7}"/>
              </a:ext>
            </a:extLst>
          </p:cNvPr>
          <p:cNvSpPr/>
          <p:nvPr userDrawn="1"/>
        </p:nvSpPr>
        <p:spPr>
          <a:xfrm>
            <a:off x="1789511" y="838864"/>
            <a:ext cx="8612978" cy="5180936"/>
          </a:xfrm>
          <a:prstGeom prst="ellipse">
            <a:avLst/>
          </a:prstGeom>
          <a:solidFill>
            <a:srgbClr val="1B343A">
              <a:alpha val="61000"/>
            </a:srgbClr>
          </a:soli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FA47976-FA2C-4387-9719-017EB6DF4DEB}"/>
              </a:ext>
            </a:extLst>
          </p:cNvPr>
          <p:cNvGrpSpPr/>
          <p:nvPr userDrawn="1"/>
        </p:nvGrpSpPr>
        <p:grpSpPr>
          <a:xfrm>
            <a:off x="3977931" y="2242571"/>
            <a:ext cx="4236138" cy="2156550"/>
            <a:chOff x="3977931" y="2242571"/>
            <a:chExt cx="4236138" cy="215655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41414F1-9C12-4CBB-9EA4-69FA7F1ECC3C}"/>
                </a:ext>
              </a:extLst>
            </p:cNvPr>
            <p:cNvGrpSpPr/>
            <p:nvPr/>
          </p:nvGrpSpPr>
          <p:grpSpPr>
            <a:xfrm>
              <a:off x="3977931" y="2242571"/>
              <a:ext cx="4236138" cy="2156550"/>
              <a:chOff x="315913" y="490538"/>
              <a:chExt cx="11534775" cy="5872163"/>
            </a:xfrm>
            <a:solidFill>
              <a:schemeClr val="bg1"/>
            </a:solidFill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584C145B-A46F-4841-BF5E-40723EE52C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59E57956-5893-4924-B766-85809950B3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251785AE-B0A4-4A29-8CF4-A928AFB52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46353C64-0381-47CB-92C9-5B972C3F35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8BFAB530-5D4F-46B7-9AA0-9ABFC2A5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7977DCC4-68F2-4F99-A584-65301A443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8748B855-2BBF-45A5-8361-0DA0EDE96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A930FCEA-DB3C-4073-AB6E-5E95D0899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97F5BA42-F763-4F80-ADB9-951E383EB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BB07ED38-2E84-437C-94FC-05E339FFF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9EEAF5BA-7593-4235-805A-B2D8D3D532F8}"/>
                </a:ext>
              </a:extLst>
            </p:cNvPr>
            <p:cNvSpPr/>
            <p:nvPr/>
          </p:nvSpPr>
          <p:spPr>
            <a:xfrm>
              <a:off x="5511708" y="3871613"/>
              <a:ext cx="2519042" cy="498310"/>
            </a:xfrm>
            <a:custGeom>
              <a:avLst/>
              <a:gdLst/>
              <a:ahLst/>
              <a:cxnLst/>
              <a:rect l="l" t="t" r="r" b="b"/>
              <a:pathLst>
                <a:path w="2519042" h="498310">
                  <a:moveTo>
                    <a:pt x="907787" y="336947"/>
                  </a:moveTo>
                  <a:cubicBezTo>
                    <a:pt x="907033" y="342054"/>
                    <a:pt x="906113" y="346114"/>
                    <a:pt x="905024" y="349128"/>
                  </a:cubicBezTo>
                  <a:lnTo>
                    <a:pt x="877021" y="425728"/>
                  </a:lnTo>
                  <a:lnTo>
                    <a:pt x="939431" y="425728"/>
                  </a:lnTo>
                  <a:lnTo>
                    <a:pt x="911177" y="349128"/>
                  </a:lnTo>
                  <a:cubicBezTo>
                    <a:pt x="910424" y="347035"/>
                    <a:pt x="909461" y="342975"/>
                    <a:pt x="908289" y="336947"/>
                  </a:cubicBezTo>
                  <a:close/>
                  <a:moveTo>
                    <a:pt x="79112" y="336947"/>
                  </a:moveTo>
                  <a:cubicBezTo>
                    <a:pt x="78358" y="342054"/>
                    <a:pt x="77438" y="346114"/>
                    <a:pt x="76349" y="349128"/>
                  </a:cubicBezTo>
                  <a:lnTo>
                    <a:pt x="48346" y="425728"/>
                  </a:lnTo>
                  <a:lnTo>
                    <a:pt x="110757" y="425728"/>
                  </a:lnTo>
                  <a:lnTo>
                    <a:pt x="82502" y="349128"/>
                  </a:lnTo>
                  <a:cubicBezTo>
                    <a:pt x="81749" y="347035"/>
                    <a:pt x="80786" y="342975"/>
                    <a:pt x="79614" y="336947"/>
                  </a:cubicBezTo>
                  <a:close/>
                  <a:moveTo>
                    <a:pt x="1266384" y="331045"/>
                  </a:moveTo>
                  <a:cubicBezTo>
                    <a:pt x="1247548" y="331045"/>
                    <a:pt x="1232207" y="337910"/>
                    <a:pt x="1220361" y="351639"/>
                  </a:cubicBezTo>
                  <a:cubicBezTo>
                    <a:pt x="1208515" y="365369"/>
                    <a:pt x="1202592" y="383284"/>
                    <a:pt x="1202592" y="405385"/>
                  </a:cubicBezTo>
                  <a:cubicBezTo>
                    <a:pt x="1202592" y="427821"/>
                    <a:pt x="1208452" y="445820"/>
                    <a:pt x="1220172" y="459382"/>
                  </a:cubicBezTo>
                  <a:cubicBezTo>
                    <a:pt x="1231558" y="472609"/>
                    <a:pt x="1246459" y="479222"/>
                    <a:pt x="1264877" y="479222"/>
                  </a:cubicBezTo>
                  <a:cubicBezTo>
                    <a:pt x="1284299" y="479222"/>
                    <a:pt x="1299661" y="472986"/>
                    <a:pt x="1310962" y="460512"/>
                  </a:cubicBezTo>
                  <a:cubicBezTo>
                    <a:pt x="1322766" y="447536"/>
                    <a:pt x="1328668" y="429244"/>
                    <a:pt x="1328668" y="405636"/>
                  </a:cubicBezTo>
                  <a:cubicBezTo>
                    <a:pt x="1328668" y="381610"/>
                    <a:pt x="1322976" y="363025"/>
                    <a:pt x="1311590" y="349881"/>
                  </a:cubicBezTo>
                  <a:cubicBezTo>
                    <a:pt x="1300623" y="337324"/>
                    <a:pt x="1285555" y="331045"/>
                    <a:pt x="1266384" y="331045"/>
                  </a:cubicBezTo>
                  <a:close/>
                  <a:moveTo>
                    <a:pt x="504384" y="331045"/>
                  </a:moveTo>
                  <a:cubicBezTo>
                    <a:pt x="485548" y="331045"/>
                    <a:pt x="470207" y="337910"/>
                    <a:pt x="458361" y="351639"/>
                  </a:cubicBezTo>
                  <a:cubicBezTo>
                    <a:pt x="446515" y="365369"/>
                    <a:pt x="440592" y="383284"/>
                    <a:pt x="440592" y="405385"/>
                  </a:cubicBezTo>
                  <a:cubicBezTo>
                    <a:pt x="440592" y="427821"/>
                    <a:pt x="446452" y="445820"/>
                    <a:pt x="458172" y="459382"/>
                  </a:cubicBezTo>
                  <a:cubicBezTo>
                    <a:pt x="469558" y="472609"/>
                    <a:pt x="484459" y="479222"/>
                    <a:pt x="502877" y="479222"/>
                  </a:cubicBezTo>
                  <a:cubicBezTo>
                    <a:pt x="522299" y="479222"/>
                    <a:pt x="537661" y="472986"/>
                    <a:pt x="548962" y="460512"/>
                  </a:cubicBezTo>
                  <a:cubicBezTo>
                    <a:pt x="560766" y="447536"/>
                    <a:pt x="566668" y="429244"/>
                    <a:pt x="566668" y="405636"/>
                  </a:cubicBezTo>
                  <a:cubicBezTo>
                    <a:pt x="566668" y="381610"/>
                    <a:pt x="560975" y="363025"/>
                    <a:pt x="549590" y="349881"/>
                  </a:cubicBezTo>
                  <a:cubicBezTo>
                    <a:pt x="538623" y="337324"/>
                    <a:pt x="523555" y="331045"/>
                    <a:pt x="504384" y="331045"/>
                  </a:cubicBezTo>
                  <a:close/>
                  <a:moveTo>
                    <a:pt x="1382795" y="315097"/>
                  </a:moveTo>
                  <a:lnTo>
                    <a:pt x="1410170" y="315097"/>
                  </a:lnTo>
                  <a:lnTo>
                    <a:pt x="1500332" y="456368"/>
                  </a:lnTo>
                  <a:cubicBezTo>
                    <a:pt x="1503932" y="461977"/>
                    <a:pt x="1506360" y="465995"/>
                    <a:pt x="1507615" y="468423"/>
                  </a:cubicBezTo>
                  <a:lnTo>
                    <a:pt x="1508118" y="468423"/>
                  </a:lnTo>
                  <a:cubicBezTo>
                    <a:pt x="1507281" y="463233"/>
                    <a:pt x="1506862" y="454401"/>
                    <a:pt x="1506862" y="441927"/>
                  </a:cubicBezTo>
                  <a:lnTo>
                    <a:pt x="1506862" y="315097"/>
                  </a:lnTo>
                  <a:lnTo>
                    <a:pt x="1527833" y="315097"/>
                  </a:lnTo>
                  <a:lnTo>
                    <a:pt x="1527833" y="495170"/>
                  </a:lnTo>
                  <a:lnTo>
                    <a:pt x="1502216" y="495170"/>
                  </a:lnTo>
                  <a:lnTo>
                    <a:pt x="1409291" y="351639"/>
                  </a:lnTo>
                  <a:cubicBezTo>
                    <a:pt x="1407115" y="348207"/>
                    <a:pt x="1405231" y="344440"/>
                    <a:pt x="1403640" y="340338"/>
                  </a:cubicBezTo>
                  <a:lnTo>
                    <a:pt x="1402887" y="340338"/>
                  </a:lnTo>
                  <a:cubicBezTo>
                    <a:pt x="1403557" y="344189"/>
                    <a:pt x="1403891" y="352435"/>
                    <a:pt x="1403891" y="365076"/>
                  </a:cubicBezTo>
                  <a:lnTo>
                    <a:pt x="1403891" y="495170"/>
                  </a:lnTo>
                  <a:lnTo>
                    <a:pt x="1382795" y="495170"/>
                  </a:lnTo>
                  <a:close/>
                  <a:moveTo>
                    <a:pt x="1125620" y="315097"/>
                  </a:moveTo>
                  <a:lnTo>
                    <a:pt x="1146716" y="315097"/>
                  </a:lnTo>
                  <a:lnTo>
                    <a:pt x="1146716" y="495170"/>
                  </a:lnTo>
                  <a:lnTo>
                    <a:pt x="1125620" y="495170"/>
                  </a:lnTo>
                  <a:close/>
                  <a:moveTo>
                    <a:pt x="973811" y="315097"/>
                  </a:moveTo>
                  <a:lnTo>
                    <a:pt x="1098757" y="315097"/>
                  </a:lnTo>
                  <a:lnTo>
                    <a:pt x="1098757" y="334185"/>
                  </a:lnTo>
                  <a:lnTo>
                    <a:pt x="1046895" y="334185"/>
                  </a:lnTo>
                  <a:lnTo>
                    <a:pt x="1046895" y="495170"/>
                  </a:lnTo>
                  <a:lnTo>
                    <a:pt x="1025798" y="495170"/>
                  </a:lnTo>
                  <a:lnTo>
                    <a:pt x="1025798" y="334185"/>
                  </a:lnTo>
                  <a:lnTo>
                    <a:pt x="973811" y="334185"/>
                  </a:lnTo>
                  <a:close/>
                  <a:moveTo>
                    <a:pt x="897490" y="315097"/>
                  </a:moveTo>
                  <a:lnTo>
                    <a:pt x="919340" y="315097"/>
                  </a:lnTo>
                  <a:lnTo>
                    <a:pt x="988782" y="495170"/>
                  </a:lnTo>
                  <a:lnTo>
                    <a:pt x="965425" y="495170"/>
                  </a:lnTo>
                  <a:lnTo>
                    <a:pt x="946464" y="444815"/>
                  </a:lnTo>
                  <a:lnTo>
                    <a:pt x="869989" y="444815"/>
                  </a:lnTo>
                  <a:lnTo>
                    <a:pt x="852032" y="495170"/>
                  </a:lnTo>
                  <a:lnTo>
                    <a:pt x="828675" y="495170"/>
                  </a:lnTo>
                  <a:close/>
                  <a:moveTo>
                    <a:pt x="782720" y="315097"/>
                  </a:moveTo>
                  <a:lnTo>
                    <a:pt x="803816" y="315097"/>
                  </a:lnTo>
                  <a:lnTo>
                    <a:pt x="803816" y="495170"/>
                  </a:lnTo>
                  <a:lnTo>
                    <a:pt x="782720" y="495170"/>
                  </a:lnTo>
                  <a:close/>
                  <a:moveTo>
                    <a:pt x="68815" y="315097"/>
                  </a:moveTo>
                  <a:lnTo>
                    <a:pt x="90665" y="315097"/>
                  </a:lnTo>
                  <a:lnTo>
                    <a:pt x="160107" y="495170"/>
                  </a:lnTo>
                  <a:lnTo>
                    <a:pt x="136750" y="495170"/>
                  </a:lnTo>
                  <a:lnTo>
                    <a:pt x="117789" y="444815"/>
                  </a:lnTo>
                  <a:lnTo>
                    <a:pt x="41314" y="444815"/>
                  </a:lnTo>
                  <a:lnTo>
                    <a:pt x="23357" y="495170"/>
                  </a:lnTo>
                  <a:lnTo>
                    <a:pt x="0" y="495170"/>
                  </a:lnTo>
                  <a:close/>
                  <a:moveTo>
                    <a:pt x="1268016" y="312084"/>
                  </a:moveTo>
                  <a:cubicBezTo>
                    <a:pt x="1292796" y="312084"/>
                    <a:pt x="1312783" y="320455"/>
                    <a:pt x="1327978" y="337198"/>
                  </a:cubicBezTo>
                  <a:cubicBezTo>
                    <a:pt x="1343172" y="353942"/>
                    <a:pt x="1350769" y="375833"/>
                    <a:pt x="1350769" y="402874"/>
                  </a:cubicBezTo>
                  <a:cubicBezTo>
                    <a:pt x="1350769" y="432341"/>
                    <a:pt x="1342900" y="455698"/>
                    <a:pt x="1327161" y="472944"/>
                  </a:cubicBezTo>
                  <a:cubicBezTo>
                    <a:pt x="1311674" y="489854"/>
                    <a:pt x="1290912" y="498310"/>
                    <a:pt x="1264877" y="498310"/>
                  </a:cubicBezTo>
                  <a:cubicBezTo>
                    <a:pt x="1239092" y="498310"/>
                    <a:pt x="1218456" y="489687"/>
                    <a:pt x="1202969" y="472441"/>
                  </a:cubicBezTo>
                  <a:cubicBezTo>
                    <a:pt x="1187984" y="455698"/>
                    <a:pt x="1180491" y="433974"/>
                    <a:pt x="1180491" y="407269"/>
                  </a:cubicBezTo>
                  <a:cubicBezTo>
                    <a:pt x="1180491" y="378973"/>
                    <a:pt x="1187984" y="356244"/>
                    <a:pt x="1202969" y="339082"/>
                  </a:cubicBezTo>
                  <a:cubicBezTo>
                    <a:pt x="1218624" y="321083"/>
                    <a:pt x="1240306" y="312084"/>
                    <a:pt x="1268016" y="312084"/>
                  </a:cubicBezTo>
                  <a:close/>
                  <a:moveTo>
                    <a:pt x="700786" y="312084"/>
                  </a:moveTo>
                  <a:cubicBezTo>
                    <a:pt x="717947" y="312084"/>
                    <a:pt x="732095" y="314553"/>
                    <a:pt x="743229" y="319492"/>
                  </a:cubicBezTo>
                  <a:lnTo>
                    <a:pt x="743229" y="341845"/>
                  </a:lnTo>
                  <a:cubicBezTo>
                    <a:pt x="730421" y="334645"/>
                    <a:pt x="716189" y="331045"/>
                    <a:pt x="700534" y="331045"/>
                  </a:cubicBezTo>
                  <a:cubicBezTo>
                    <a:pt x="680275" y="331045"/>
                    <a:pt x="663783" y="337701"/>
                    <a:pt x="651058" y="351012"/>
                  </a:cubicBezTo>
                  <a:cubicBezTo>
                    <a:pt x="637748" y="364908"/>
                    <a:pt x="631092" y="383661"/>
                    <a:pt x="631092" y="407269"/>
                  </a:cubicBezTo>
                  <a:cubicBezTo>
                    <a:pt x="631092" y="429704"/>
                    <a:pt x="637371" y="447452"/>
                    <a:pt x="649928" y="460512"/>
                  </a:cubicBezTo>
                  <a:cubicBezTo>
                    <a:pt x="661816" y="472986"/>
                    <a:pt x="677345" y="479222"/>
                    <a:pt x="696516" y="479222"/>
                  </a:cubicBezTo>
                  <a:cubicBezTo>
                    <a:pt x="714599" y="479222"/>
                    <a:pt x="730170" y="475204"/>
                    <a:pt x="743229" y="467167"/>
                  </a:cubicBezTo>
                  <a:lnTo>
                    <a:pt x="743229" y="487761"/>
                  </a:lnTo>
                  <a:cubicBezTo>
                    <a:pt x="730002" y="494793"/>
                    <a:pt x="713468" y="498310"/>
                    <a:pt x="693628" y="498310"/>
                  </a:cubicBezTo>
                  <a:cubicBezTo>
                    <a:pt x="667843" y="498310"/>
                    <a:pt x="647207" y="489938"/>
                    <a:pt x="631720" y="473195"/>
                  </a:cubicBezTo>
                  <a:cubicBezTo>
                    <a:pt x="616567" y="456787"/>
                    <a:pt x="608991" y="435230"/>
                    <a:pt x="608991" y="408524"/>
                  </a:cubicBezTo>
                  <a:cubicBezTo>
                    <a:pt x="608991" y="379140"/>
                    <a:pt x="618032" y="355490"/>
                    <a:pt x="636115" y="337575"/>
                  </a:cubicBezTo>
                  <a:cubicBezTo>
                    <a:pt x="653277" y="320581"/>
                    <a:pt x="674834" y="312084"/>
                    <a:pt x="700786" y="312084"/>
                  </a:cubicBezTo>
                  <a:close/>
                  <a:moveTo>
                    <a:pt x="506016" y="312084"/>
                  </a:moveTo>
                  <a:cubicBezTo>
                    <a:pt x="530796" y="312084"/>
                    <a:pt x="550783" y="320455"/>
                    <a:pt x="565977" y="337198"/>
                  </a:cubicBezTo>
                  <a:cubicBezTo>
                    <a:pt x="581172" y="353942"/>
                    <a:pt x="588769" y="375833"/>
                    <a:pt x="588769" y="402874"/>
                  </a:cubicBezTo>
                  <a:cubicBezTo>
                    <a:pt x="588769" y="432341"/>
                    <a:pt x="580900" y="455698"/>
                    <a:pt x="565161" y="472944"/>
                  </a:cubicBezTo>
                  <a:cubicBezTo>
                    <a:pt x="549674" y="489854"/>
                    <a:pt x="528912" y="498310"/>
                    <a:pt x="502877" y="498310"/>
                  </a:cubicBezTo>
                  <a:cubicBezTo>
                    <a:pt x="477092" y="498310"/>
                    <a:pt x="456456" y="489687"/>
                    <a:pt x="440969" y="472441"/>
                  </a:cubicBezTo>
                  <a:cubicBezTo>
                    <a:pt x="425984" y="455698"/>
                    <a:pt x="418491" y="433974"/>
                    <a:pt x="418491" y="407269"/>
                  </a:cubicBezTo>
                  <a:cubicBezTo>
                    <a:pt x="418491" y="378973"/>
                    <a:pt x="425984" y="356244"/>
                    <a:pt x="440969" y="339082"/>
                  </a:cubicBezTo>
                  <a:cubicBezTo>
                    <a:pt x="456624" y="321083"/>
                    <a:pt x="478306" y="312084"/>
                    <a:pt x="506016" y="312084"/>
                  </a:cubicBezTo>
                  <a:close/>
                  <a:moveTo>
                    <a:pt x="355444" y="312084"/>
                  </a:moveTo>
                  <a:cubicBezTo>
                    <a:pt x="371601" y="312084"/>
                    <a:pt x="383405" y="314218"/>
                    <a:pt x="390856" y="318488"/>
                  </a:cubicBezTo>
                  <a:lnTo>
                    <a:pt x="390856" y="342096"/>
                  </a:lnTo>
                  <a:cubicBezTo>
                    <a:pt x="381396" y="334729"/>
                    <a:pt x="369215" y="331045"/>
                    <a:pt x="354314" y="331045"/>
                  </a:cubicBezTo>
                  <a:cubicBezTo>
                    <a:pt x="343766" y="331045"/>
                    <a:pt x="335394" y="333724"/>
                    <a:pt x="329199" y="339082"/>
                  </a:cubicBezTo>
                  <a:cubicBezTo>
                    <a:pt x="323339" y="344105"/>
                    <a:pt x="320409" y="350509"/>
                    <a:pt x="320409" y="358295"/>
                  </a:cubicBezTo>
                  <a:cubicBezTo>
                    <a:pt x="320409" y="366666"/>
                    <a:pt x="323088" y="373657"/>
                    <a:pt x="328446" y="379266"/>
                  </a:cubicBezTo>
                  <a:cubicBezTo>
                    <a:pt x="332966" y="383954"/>
                    <a:pt x="341966" y="390023"/>
                    <a:pt x="355444" y="397474"/>
                  </a:cubicBezTo>
                  <a:cubicBezTo>
                    <a:pt x="370178" y="405594"/>
                    <a:pt x="380810" y="413422"/>
                    <a:pt x="387340" y="420956"/>
                  </a:cubicBezTo>
                  <a:cubicBezTo>
                    <a:pt x="394707" y="429411"/>
                    <a:pt x="398390" y="438997"/>
                    <a:pt x="398390" y="449713"/>
                  </a:cubicBezTo>
                  <a:cubicBezTo>
                    <a:pt x="398390" y="463693"/>
                    <a:pt x="393744" y="474995"/>
                    <a:pt x="384451" y="483617"/>
                  </a:cubicBezTo>
                  <a:cubicBezTo>
                    <a:pt x="373903" y="493412"/>
                    <a:pt x="358625" y="498310"/>
                    <a:pt x="338617" y="498310"/>
                  </a:cubicBezTo>
                  <a:cubicBezTo>
                    <a:pt x="331920" y="498310"/>
                    <a:pt x="324469" y="497263"/>
                    <a:pt x="316265" y="495170"/>
                  </a:cubicBezTo>
                  <a:cubicBezTo>
                    <a:pt x="308061" y="493077"/>
                    <a:pt x="301991" y="490691"/>
                    <a:pt x="298057" y="488013"/>
                  </a:cubicBezTo>
                  <a:lnTo>
                    <a:pt x="298057" y="463023"/>
                  </a:lnTo>
                  <a:cubicBezTo>
                    <a:pt x="303666" y="468046"/>
                    <a:pt x="310698" y="472065"/>
                    <a:pt x="319153" y="475078"/>
                  </a:cubicBezTo>
                  <a:cubicBezTo>
                    <a:pt x="327022" y="477841"/>
                    <a:pt x="334473" y="479222"/>
                    <a:pt x="341505" y="479222"/>
                  </a:cubicBezTo>
                  <a:cubicBezTo>
                    <a:pt x="364611" y="479222"/>
                    <a:pt x="376164" y="470223"/>
                    <a:pt x="376164" y="452224"/>
                  </a:cubicBezTo>
                  <a:cubicBezTo>
                    <a:pt x="376164" y="444438"/>
                    <a:pt x="373233" y="437532"/>
                    <a:pt x="367373" y="431504"/>
                  </a:cubicBezTo>
                  <a:cubicBezTo>
                    <a:pt x="362183" y="426230"/>
                    <a:pt x="352514" y="419575"/>
                    <a:pt x="338366" y="411538"/>
                  </a:cubicBezTo>
                  <a:cubicBezTo>
                    <a:pt x="323548" y="403167"/>
                    <a:pt x="313167" y="395130"/>
                    <a:pt x="307224" y="387428"/>
                  </a:cubicBezTo>
                  <a:cubicBezTo>
                    <a:pt x="301280" y="379726"/>
                    <a:pt x="298308" y="370643"/>
                    <a:pt x="298308" y="360178"/>
                  </a:cubicBezTo>
                  <a:cubicBezTo>
                    <a:pt x="298308" y="346365"/>
                    <a:pt x="303373" y="334980"/>
                    <a:pt x="313502" y="326022"/>
                  </a:cubicBezTo>
                  <a:cubicBezTo>
                    <a:pt x="324134" y="316730"/>
                    <a:pt x="338115" y="312084"/>
                    <a:pt x="355444" y="312084"/>
                  </a:cubicBezTo>
                  <a:close/>
                  <a:moveTo>
                    <a:pt x="231619" y="312084"/>
                  </a:moveTo>
                  <a:cubicBezTo>
                    <a:pt x="247776" y="312084"/>
                    <a:pt x="259580" y="314218"/>
                    <a:pt x="267031" y="318488"/>
                  </a:cubicBezTo>
                  <a:lnTo>
                    <a:pt x="267031" y="342096"/>
                  </a:lnTo>
                  <a:cubicBezTo>
                    <a:pt x="257571" y="334729"/>
                    <a:pt x="245390" y="331045"/>
                    <a:pt x="230489" y="331045"/>
                  </a:cubicBezTo>
                  <a:cubicBezTo>
                    <a:pt x="219941" y="331045"/>
                    <a:pt x="211569" y="333724"/>
                    <a:pt x="205374" y="339082"/>
                  </a:cubicBezTo>
                  <a:cubicBezTo>
                    <a:pt x="199514" y="344105"/>
                    <a:pt x="196584" y="350509"/>
                    <a:pt x="196584" y="358295"/>
                  </a:cubicBezTo>
                  <a:cubicBezTo>
                    <a:pt x="196584" y="366666"/>
                    <a:pt x="199263" y="373657"/>
                    <a:pt x="204621" y="379266"/>
                  </a:cubicBezTo>
                  <a:cubicBezTo>
                    <a:pt x="209141" y="383954"/>
                    <a:pt x="218141" y="390023"/>
                    <a:pt x="231619" y="397474"/>
                  </a:cubicBezTo>
                  <a:cubicBezTo>
                    <a:pt x="246353" y="405594"/>
                    <a:pt x="256985" y="413422"/>
                    <a:pt x="263515" y="420956"/>
                  </a:cubicBezTo>
                  <a:cubicBezTo>
                    <a:pt x="270882" y="429411"/>
                    <a:pt x="274565" y="438997"/>
                    <a:pt x="274565" y="449713"/>
                  </a:cubicBezTo>
                  <a:cubicBezTo>
                    <a:pt x="274565" y="463693"/>
                    <a:pt x="269919" y="474995"/>
                    <a:pt x="260626" y="483617"/>
                  </a:cubicBezTo>
                  <a:cubicBezTo>
                    <a:pt x="250078" y="493412"/>
                    <a:pt x="234800" y="498310"/>
                    <a:pt x="214792" y="498310"/>
                  </a:cubicBezTo>
                  <a:cubicBezTo>
                    <a:pt x="208095" y="498310"/>
                    <a:pt x="200644" y="497263"/>
                    <a:pt x="192440" y="495170"/>
                  </a:cubicBezTo>
                  <a:cubicBezTo>
                    <a:pt x="184236" y="493077"/>
                    <a:pt x="178166" y="490691"/>
                    <a:pt x="174232" y="488013"/>
                  </a:cubicBezTo>
                  <a:lnTo>
                    <a:pt x="174232" y="463023"/>
                  </a:lnTo>
                  <a:cubicBezTo>
                    <a:pt x="179841" y="468046"/>
                    <a:pt x="186873" y="472065"/>
                    <a:pt x="195328" y="475078"/>
                  </a:cubicBezTo>
                  <a:cubicBezTo>
                    <a:pt x="203197" y="477841"/>
                    <a:pt x="210648" y="479222"/>
                    <a:pt x="217680" y="479222"/>
                  </a:cubicBezTo>
                  <a:cubicBezTo>
                    <a:pt x="240786" y="479222"/>
                    <a:pt x="252339" y="470223"/>
                    <a:pt x="252339" y="452224"/>
                  </a:cubicBezTo>
                  <a:cubicBezTo>
                    <a:pt x="252339" y="444438"/>
                    <a:pt x="249408" y="437532"/>
                    <a:pt x="243548" y="431504"/>
                  </a:cubicBezTo>
                  <a:cubicBezTo>
                    <a:pt x="238358" y="426230"/>
                    <a:pt x="228689" y="419575"/>
                    <a:pt x="214541" y="411538"/>
                  </a:cubicBezTo>
                  <a:cubicBezTo>
                    <a:pt x="199723" y="403167"/>
                    <a:pt x="189342" y="395130"/>
                    <a:pt x="183399" y="387428"/>
                  </a:cubicBezTo>
                  <a:cubicBezTo>
                    <a:pt x="177455" y="379726"/>
                    <a:pt x="174483" y="370643"/>
                    <a:pt x="174483" y="360178"/>
                  </a:cubicBezTo>
                  <a:cubicBezTo>
                    <a:pt x="174483" y="346365"/>
                    <a:pt x="179548" y="334980"/>
                    <a:pt x="189677" y="326022"/>
                  </a:cubicBezTo>
                  <a:cubicBezTo>
                    <a:pt x="200309" y="316730"/>
                    <a:pt x="214290" y="312084"/>
                    <a:pt x="231619" y="312084"/>
                  </a:cubicBezTo>
                  <a:close/>
                  <a:moveTo>
                    <a:pt x="364750" y="161865"/>
                  </a:moveTo>
                  <a:lnTo>
                    <a:pt x="377559" y="161865"/>
                  </a:lnTo>
                  <a:lnTo>
                    <a:pt x="355709" y="221512"/>
                  </a:lnTo>
                  <a:lnTo>
                    <a:pt x="345914" y="221512"/>
                  </a:lnTo>
                  <a:close/>
                  <a:moveTo>
                    <a:pt x="1837632" y="121179"/>
                  </a:moveTo>
                  <a:lnTo>
                    <a:pt x="1802221" y="126328"/>
                  </a:lnTo>
                  <a:cubicBezTo>
                    <a:pt x="1788742" y="128253"/>
                    <a:pt x="1779283" y="131371"/>
                    <a:pt x="1773841" y="135683"/>
                  </a:cubicBezTo>
                  <a:cubicBezTo>
                    <a:pt x="1768399" y="139994"/>
                    <a:pt x="1765679" y="147005"/>
                    <a:pt x="1765679" y="156716"/>
                  </a:cubicBezTo>
                  <a:cubicBezTo>
                    <a:pt x="1765679" y="164335"/>
                    <a:pt x="1768211" y="170613"/>
                    <a:pt x="1773276" y="175552"/>
                  </a:cubicBezTo>
                  <a:cubicBezTo>
                    <a:pt x="1778341" y="180492"/>
                    <a:pt x="1785394" y="182961"/>
                    <a:pt x="1794435" y="182961"/>
                  </a:cubicBezTo>
                  <a:cubicBezTo>
                    <a:pt x="1806825" y="182961"/>
                    <a:pt x="1817122" y="178378"/>
                    <a:pt x="1825326" y="169211"/>
                  </a:cubicBezTo>
                  <a:cubicBezTo>
                    <a:pt x="1833530" y="160044"/>
                    <a:pt x="1837632" y="148219"/>
                    <a:pt x="1837632" y="133736"/>
                  </a:cubicBezTo>
                  <a:close/>
                  <a:moveTo>
                    <a:pt x="2251975" y="102720"/>
                  </a:moveTo>
                  <a:lnTo>
                    <a:pt x="2251975" y="179068"/>
                  </a:lnTo>
                  <a:lnTo>
                    <a:pt x="2285377" y="179068"/>
                  </a:lnTo>
                  <a:cubicBezTo>
                    <a:pt x="2299525" y="179068"/>
                    <a:pt x="2310345" y="175678"/>
                    <a:pt x="2317838" y="168897"/>
                  </a:cubicBezTo>
                  <a:cubicBezTo>
                    <a:pt x="2325331" y="162116"/>
                    <a:pt x="2329077" y="152489"/>
                    <a:pt x="2329077" y="140015"/>
                  </a:cubicBezTo>
                  <a:cubicBezTo>
                    <a:pt x="2329077" y="115151"/>
                    <a:pt x="2312208" y="102720"/>
                    <a:pt x="2278471" y="102720"/>
                  </a:cubicBezTo>
                  <a:close/>
                  <a:moveTo>
                    <a:pt x="32650" y="102720"/>
                  </a:moveTo>
                  <a:lnTo>
                    <a:pt x="32650" y="179068"/>
                  </a:lnTo>
                  <a:lnTo>
                    <a:pt x="66052" y="179068"/>
                  </a:lnTo>
                  <a:cubicBezTo>
                    <a:pt x="80200" y="179068"/>
                    <a:pt x="91020" y="175678"/>
                    <a:pt x="98513" y="168897"/>
                  </a:cubicBezTo>
                  <a:cubicBezTo>
                    <a:pt x="106006" y="162116"/>
                    <a:pt x="109752" y="152489"/>
                    <a:pt x="109752" y="140015"/>
                  </a:cubicBezTo>
                  <a:cubicBezTo>
                    <a:pt x="109752" y="115151"/>
                    <a:pt x="92883" y="102720"/>
                    <a:pt x="59146" y="102720"/>
                  </a:cubicBezTo>
                  <a:close/>
                  <a:moveTo>
                    <a:pt x="2067307" y="69191"/>
                  </a:moveTo>
                  <a:cubicBezTo>
                    <a:pt x="2053829" y="69191"/>
                    <a:pt x="2042694" y="74361"/>
                    <a:pt x="2033904" y="84700"/>
                  </a:cubicBezTo>
                  <a:cubicBezTo>
                    <a:pt x="2025114" y="95039"/>
                    <a:pt x="2020719" y="109249"/>
                    <a:pt x="2020719" y="127332"/>
                  </a:cubicBezTo>
                  <a:cubicBezTo>
                    <a:pt x="2020719" y="145080"/>
                    <a:pt x="2024674" y="158788"/>
                    <a:pt x="2032586" y="168458"/>
                  </a:cubicBezTo>
                  <a:cubicBezTo>
                    <a:pt x="2040497" y="178127"/>
                    <a:pt x="2050689" y="182961"/>
                    <a:pt x="2063163" y="182961"/>
                  </a:cubicBezTo>
                  <a:cubicBezTo>
                    <a:pt x="2077813" y="182961"/>
                    <a:pt x="2089157" y="178420"/>
                    <a:pt x="2097193" y="169337"/>
                  </a:cubicBezTo>
                  <a:cubicBezTo>
                    <a:pt x="2105230" y="160253"/>
                    <a:pt x="2109248" y="149182"/>
                    <a:pt x="2109248" y="136122"/>
                  </a:cubicBezTo>
                  <a:lnTo>
                    <a:pt x="2109248" y="112138"/>
                  </a:lnTo>
                  <a:cubicBezTo>
                    <a:pt x="2109248" y="100166"/>
                    <a:pt x="2105460" y="90016"/>
                    <a:pt x="2097884" y="81686"/>
                  </a:cubicBezTo>
                  <a:cubicBezTo>
                    <a:pt x="2090308" y="73356"/>
                    <a:pt x="2080115" y="69191"/>
                    <a:pt x="2067307" y="69191"/>
                  </a:cubicBezTo>
                  <a:close/>
                  <a:moveTo>
                    <a:pt x="1940612" y="58643"/>
                  </a:moveTo>
                  <a:cubicBezTo>
                    <a:pt x="1954509" y="58643"/>
                    <a:pt x="1965141" y="63269"/>
                    <a:pt x="1972508" y="72519"/>
                  </a:cubicBezTo>
                  <a:cubicBezTo>
                    <a:pt x="1979875" y="81770"/>
                    <a:pt x="1983558" y="94976"/>
                    <a:pt x="1983558" y="112138"/>
                  </a:cubicBezTo>
                  <a:lnTo>
                    <a:pt x="1983558" y="190370"/>
                  </a:lnTo>
                  <a:lnTo>
                    <a:pt x="1972006" y="190370"/>
                  </a:lnTo>
                  <a:lnTo>
                    <a:pt x="1972006" y="115528"/>
                  </a:lnTo>
                  <a:cubicBezTo>
                    <a:pt x="1972006" y="84637"/>
                    <a:pt x="1960871" y="69191"/>
                    <a:pt x="1938603" y="69191"/>
                  </a:cubicBezTo>
                  <a:cubicBezTo>
                    <a:pt x="1926213" y="69191"/>
                    <a:pt x="1916042" y="73733"/>
                    <a:pt x="1908089" y="82816"/>
                  </a:cubicBezTo>
                  <a:cubicBezTo>
                    <a:pt x="1900136" y="91899"/>
                    <a:pt x="1896159" y="103138"/>
                    <a:pt x="1896159" y="116533"/>
                  </a:cubicBezTo>
                  <a:lnTo>
                    <a:pt x="1896159" y="190370"/>
                  </a:lnTo>
                  <a:lnTo>
                    <a:pt x="1884606" y="190370"/>
                  </a:lnTo>
                  <a:lnTo>
                    <a:pt x="1884606" y="61783"/>
                  </a:lnTo>
                  <a:lnTo>
                    <a:pt x="1896159" y="61783"/>
                  </a:lnTo>
                  <a:lnTo>
                    <a:pt x="1896159" y="85139"/>
                  </a:lnTo>
                  <a:lnTo>
                    <a:pt x="1896661" y="85139"/>
                  </a:lnTo>
                  <a:cubicBezTo>
                    <a:pt x="1906038" y="67475"/>
                    <a:pt x="1920688" y="58643"/>
                    <a:pt x="1940612" y="58643"/>
                  </a:cubicBezTo>
                  <a:close/>
                  <a:moveTo>
                    <a:pt x="1807620" y="58643"/>
                  </a:moveTo>
                  <a:cubicBezTo>
                    <a:pt x="1820847" y="58643"/>
                    <a:pt x="1831082" y="62745"/>
                    <a:pt x="1838323" y="70950"/>
                  </a:cubicBezTo>
                  <a:cubicBezTo>
                    <a:pt x="1845565" y="79154"/>
                    <a:pt x="1849185" y="91083"/>
                    <a:pt x="1849185" y="106738"/>
                  </a:cubicBezTo>
                  <a:lnTo>
                    <a:pt x="1849185" y="190370"/>
                  </a:lnTo>
                  <a:lnTo>
                    <a:pt x="1837632" y="190370"/>
                  </a:lnTo>
                  <a:lnTo>
                    <a:pt x="1837632" y="164628"/>
                  </a:lnTo>
                  <a:lnTo>
                    <a:pt x="1837130" y="164628"/>
                  </a:lnTo>
                  <a:cubicBezTo>
                    <a:pt x="1833028" y="173418"/>
                    <a:pt x="1827063" y="180429"/>
                    <a:pt x="1819236" y="185661"/>
                  </a:cubicBezTo>
                  <a:cubicBezTo>
                    <a:pt x="1811408" y="190893"/>
                    <a:pt x="1802723" y="193509"/>
                    <a:pt x="1793179" y="193509"/>
                  </a:cubicBezTo>
                  <a:cubicBezTo>
                    <a:pt x="1780957" y="193509"/>
                    <a:pt x="1771288" y="190077"/>
                    <a:pt x="1764172" y="183212"/>
                  </a:cubicBezTo>
                  <a:cubicBezTo>
                    <a:pt x="1757056" y="176348"/>
                    <a:pt x="1753498" y="167683"/>
                    <a:pt x="1753498" y="157219"/>
                  </a:cubicBezTo>
                  <a:cubicBezTo>
                    <a:pt x="1753498" y="134783"/>
                    <a:pt x="1768358" y="121221"/>
                    <a:pt x="1798077" y="116533"/>
                  </a:cubicBezTo>
                  <a:lnTo>
                    <a:pt x="1837632" y="110631"/>
                  </a:lnTo>
                  <a:cubicBezTo>
                    <a:pt x="1837632" y="83005"/>
                    <a:pt x="1827252" y="69191"/>
                    <a:pt x="1806490" y="69191"/>
                  </a:cubicBezTo>
                  <a:cubicBezTo>
                    <a:pt x="1792342" y="69191"/>
                    <a:pt x="1778571" y="74884"/>
                    <a:pt x="1765176" y="86270"/>
                  </a:cubicBezTo>
                  <a:lnTo>
                    <a:pt x="1765176" y="72331"/>
                  </a:lnTo>
                  <a:cubicBezTo>
                    <a:pt x="1769948" y="68564"/>
                    <a:pt x="1776415" y="65341"/>
                    <a:pt x="1784578" y="62662"/>
                  </a:cubicBezTo>
                  <a:cubicBezTo>
                    <a:pt x="1792740" y="59983"/>
                    <a:pt x="1800421" y="58643"/>
                    <a:pt x="1807620" y="58643"/>
                  </a:cubicBezTo>
                  <a:close/>
                  <a:moveTo>
                    <a:pt x="1496830" y="25994"/>
                  </a:moveTo>
                  <a:cubicBezTo>
                    <a:pt x="1495407" y="31519"/>
                    <a:pt x="1494026" y="35998"/>
                    <a:pt x="1492686" y="39431"/>
                  </a:cubicBezTo>
                  <a:lnTo>
                    <a:pt x="1462423" y="122937"/>
                  </a:lnTo>
                  <a:lnTo>
                    <a:pt x="1531865" y="122937"/>
                  </a:lnTo>
                  <a:lnTo>
                    <a:pt x="1501476" y="39682"/>
                  </a:lnTo>
                  <a:cubicBezTo>
                    <a:pt x="1500555" y="37170"/>
                    <a:pt x="1499802" y="34701"/>
                    <a:pt x="1499216" y="32273"/>
                  </a:cubicBezTo>
                  <a:cubicBezTo>
                    <a:pt x="1498630" y="30180"/>
                    <a:pt x="1498002" y="28087"/>
                    <a:pt x="1497332" y="25994"/>
                  </a:cubicBezTo>
                  <a:close/>
                  <a:moveTo>
                    <a:pt x="2394850" y="21725"/>
                  </a:moveTo>
                  <a:lnTo>
                    <a:pt x="2394850" y="179068"/>
                  </a:lnTo>
                  <a:lnTo>
                    <a:pt x="2423104" y="179068"/>
                  </a:lnTo>
                  <a:cubicBezTo>
                    <a:pt x="2449809" y="179068"/>
                    <a:pt x="2470319" y="172141"/>
                    <a:pt x="2484635" y="158286"/>
                  </a:cubicBezTo>
                  <a:cubicBezTo>
                    <a:pt x="2498950" y="144431"/>
                    <a:pt x="2506108" y="124444"/>
                    <a:pt x="2506108" y="98325"/>
                  </a:cubicBezTo>
                  <a:cubicBezTo>
                    <a:pt x="2506108" y="47258"/>
                    <a:pt x="2479277" y="21725"/>
                    <a:pt x="2425615" y="21725"/>
                  </a:cubicBezTo>
                  <a:close/>
                  <a:moveTo>
                    <a:pt x="2251975" y="21725"/>
                  </a:moveTo>
                  <a:lnTo>
                    <a:pt x="2251975" y="91418"/>
                  </a:lnTo>
                  <a:lnTo>
                    <a:pt x="2277089" y="91418"/>
                  </a:lnTo>
                  <a:cubicBezTo>
                    <a:pt x="2290149" y="91418"/>
                    <a:pt x="2300613" y="88069"/>
                    <a:pt x="2308483" y="81372"/>
                  </a:cubicBezTo>
                  <a:cubicBezTo>
                    <a:pt x="2316352" y="74675"/>
                    <a:pt x="2320287" y="65592"/>
                    <a:pt x="2320287" y="54123"/>
                  </a:cubicBezTo>
                  <a:cubicBezTo>
                    <a:pt x="2320287" y="32524"/>
                    <a:pt x="2307520" y="21725"/>
                    <a:pt x="2281987" y="21725"/>
                  </a:cubicBezTo>
                  <a:close/>
                  <a:moveTo>
                    <a:pt x="985150" y="21725"/>
                  </a:moveTo>
                  <a:lnTo>
                    <a:pt x="985150" y="106738"/>
                  </a:lnTo>
                  <a:lnTo>
                    <a:pt x="1010767" y="106738"/>
                  </a:lnTo>
                  <a:cubicBezTo>
                    <a:pt x="1027007" y="106738"/>
                    <a:pt x="1039356" y="102866"/>
                    <a:pt x="1047811" y="95122"/>
                  </a:cubicBezTo>
                  <a:cubicBezTo>
                    <a:pt x="1056266" y="87379"/>
                    <a:pt x="1060494" y="76433"/>
                    <a:pt x="1060494" y="62285"/>
                  </a:cubicBezTo>
                  <a:cubicBezTo>
                    <a:pt x="1060494" y="35245"/>
                    <a:pt x="1044965" y="21725"/>
                    <a:pt x="1013906" y="21725"/>
                  </a:cubicBezTo>
                  <a:close/>
                  <a:moveTo>
                    <a:pt x="642250" y="21725"/>
                  </a:moveTo>
                  <a:lnTo>
                    <a:pt x="642250" y="98827"/>
                  </a:lnTo>
                  <a:lnTo>
                    <a:pt x="673266" y="98827"/>
                  </a:lnTo>
                  <a:cubicBezTo>
                    <a:pt x="686996" y="98827"/>
                    <a:pt x="697900" y="95227"/>
                    <a:pt x="705978" y="88028"/>
                  </a:cubicBezTo>
                  <a:cubicBezTo>
                    <a:pt x="714057" y="80828"/>
                    <a:pt x="718096" y="70950"/>
                    <a:pt x="718096" y="58392"/>
                  </a:cubicBezTo>
                  <a:cubicBezTo>
                    <a:pt x="718096" y="46923"/>
                    <a:pt x="714454" y="37945"/>
                    <a:pt x="707171" y="31457"/>
                  </a:cubicBezTo>
                  <a:cubicBezTo>
                    <a:pt x="699888" y="24969"/>
                    <a:pt x="689465" y="21725"/>
                    <a:pt x="675903" y="21725"/>
                  </a:cubicBezTo>
                  <a:close/>
                  <a:moveTo>
                    <a:pt x="499375" y="21725"/>
                  </a:moveTo>
                  <a:lnTo>
                    <a:pt x="499375" y="106738"/>
                  </a:lnTo>
                  <a:lnTo>
                    <a:pt x="524992" y="106738"/>
                  </a:lnTo>
                  <a:cubicBezTo>
                    <a:pt x="541232" y="106738"/>
                    <a:pt x="553581" y="102866"/>
                    <a:pt x="562036" y="95122"/>
                  </a:cubicBezTo>
                  <a:cubicBezTo>
                    <a:pt x="570491" y="87379"/>
                    <a:pt x="574719" y="76433"/>
                    <a:pt x="574719" y="62285"/>
                  </a:cubicBezTo>
                  <a:cubicBezTo>
                    <a:pt x="574719" y="35245"/>
                    <a:pt x="559190" y="21725"/>
                    <a:pt x="528131" y="21725"/>
                  </a:cubicBezTo>
                  <a:close/>
                  <a:moveTo>
                    <a:pt x="232675" y="21725"/>
                  </a:moveTo>
                  <a:lnTo>
                    <a:pt x="232675" y="179068"/>
                  </a:lnTo>
                  <a:lnTo>
                    <a:pt x="260929" y="179068"/>
                  </a:lnTo>
                  <a:cubicBezTo>
                    <a:pt x="287634" y="179068"/>
                    <a:pt x="308144" y="172141"/>
                    <a:pt x="322460" y="158286"/>
                  </a:cubicBezTo>
                  <a:cubicBezTo>
                    <a:pt x="336775" y="144431"/>
                    <a:pt x="343933" y="124444"/>
                    <a:pt x="343933" y="98325"/>
                  </a:cubicBezTo>
                  <a:cubicBezTo>
                    <a:pt x="343933" y="47258"/>
                    <a:pt x="317102" y="21725"/>
                    <a:pt x="263440" y="21725"/>
                  </a:cubicBezTo>
                  <a:close/>
                  <a:moveTo>
                    <a:pt x="32650" y="21725"/>
                  </a:moveTo>
                  <a:lnTo>
                    <a:pt x="32650" y="91418"/>
                  </a:lnTo>
                  <a:lnTo>
                    <a:pt x="57764" y="91418"/>
                  </a:lnTo>
                  <a:cubicBezTo>
                    <a:pt x="70824" y="91418"/>
                    <a:pt x="81289" y="88069"/>
                    <a:pt x="89158" y="81372"/>
                  </a:cubicBezTo>
                  <a:cubicBezTo>
                    <a:pt x="97027" y="74675"/>
                    <a:pt x="100962" y="65592"/>
                    <a:pt x="100962" y="54123"/>
                  </a:cubicBezTo>
                  <a:cubicBezTo>
                    <a:pt x="100962" y="32524"/>
                    <a:pt x="88195" y="21725"/>
                    <a:pt x="62662" y="21725"/>
                  </a:cubicBezTo>
                  <a:close/>
                  <a:moveTo>
                    <a:pt x="1190937" y="18585"/>
                  </a:moveTo>
                  <a:cubicBezTo>
                    <a:pt x="1170008" y="18585"/>
                    <a:pt x="1152784" y="26162"/>
                    <a:pt x="1139263" y="41314"/>
                  </a:cubicBezTo>
                  <a:cubicBezTo>
                    <a:pt x="1125743" y="56467"/>
                    <a:pt x="1118983" y="76307"/>
                    <a:pt x="1118983" y="100836"/>
                  </a:cubicBezTo>
                  <a:cubicBezTo>
                    <a:pt x="1118983" y="125616"/>
                    <a:pt x="1125388" y="145352"/>
                    <a:pt x="1138196" y="160044"/>
                  </a:cubicBezTo>
                  <a:cubicBezTo>
                    <a:pt x="1151005" y="174736"/>
                    <a:pt x="1168083" y="182082"/>
                    <a:pt x="1189430" y="182082"/>
                  </a:cubicBezTo>
                  <a:cubicBezTo>
                    <a:pt x="1211699" y="182082"/>
                    <a:pt x="1229321" y="174820"/>
                    <a:pt x="1242297" y="160295"/>
                  </a:cubicBezTo>
                  <a:cubicBezTo>
                    <a:pt x="1255273" y="145771"/>
                    <a:pt x="1261761" y="125532"/>
                    <a:pt x="1261761" y="99580"/>
                  </a:cubicBezTo>
                  <a:cubicBezTo>
                    <a:pt x="1261761" y="74131"/>
                    <a:pt x="1255419" y="54269"/>
                    <a:pt x="1242736" y="39996"/>
                  </a:cubicBezTo>
                  <a:cubicBezTo>
                    <a:pt x="1230053" y="25722"/>
                    <a:pt x="1212787" y="18585"/>
                    <a:pt x="1190937" y="18585"/>
                  </a:cubicBezTo>
                  <a:close/>
                  <a:moveTo>
                    <a:pt x="848037" y="18585"/>
                  </a:moveTo>
                  <a:cubicBezTo>
                    <a:pt x="827108" y="18585"/>
                    <a:pt x="809884" y="26162"/>
                    <a:pt x="796363" y="41314"/>
                  </a:cubicBezTo>
                  <a:cubicBezTo>
                    <a:pt x="782843" y="56467"/>
                    <a:pt x="776083" y="76307"/>
                    <a:pt x="776083" y="100836"/>
                  </a:cubicBezTo>
                  <a:cubicBezTo>
                    <a:pt x="776083" y="125616"/>
                    <a:pt x="782488" y="145352"/>
                    <a:pt x="795296" y="160044"/>
                  </a:cubicBezTo>
                  <a:cubicBezTo>
                    <a:pt x="808105" y="174736"/>
                    <a:pt x="825183" y="182082"/>
                    <a:pt x="846530" y="182082"/>
                  </a:cubicBezTo>
                  <a:cubicBezTo>
                    <a:pt x="868799" y="182082"/>
                    <a:pt x="886421" y="174820"/>
                    <a:pt x="899397" y="160295"/>
                  </a:cubicBezTo>
                  <a:cubicBezTo>
                    <a:pt x="912373" y="145771"/>
                    <a:pt x="918861" y="125532"/>
                    <a:pt x="918861" y="99580"/>
                  </a:cubicBezTo>
                  <a:cubicBezTo>
                    <a:pt x="918861" y="74131"/>
                    <a:pt x="912519" y="54269"/>
                    <a:pt x="899836" y="39996"/>
                  </a:cubicBezTo>
                  <a:cubicBezTo>
                    <a:pt x="887153" y="25722"/>
                    <a:pt x="869887" y="18585"/>
                    <a:pt x="848037" y="18585"/>
                  </a:cubicBezTo>
                  <a:close/>
                  <a:moveTo>
                    <a:pt x="2382418" y="10297"/>
                  </a:moveTo>
                  <a:lnTo>
                    <a:pt x="2427499" y="10297"/>
                  </a:lnTo>
                  <a:cubicBezTo>
                    <a:pt x="2457385" y="10297"/>
                    <a:pt x="2480114" y="17748"/>
                    <a:pt x="2495685" y="32650"/>
                  </a:cubicBezTo>
                  <a:cubicBezTo>
                    <a:pt x="2511256" y="47551"/>
                    <a:pt x="2519042" y="69275"/>
                    <a:pt x="2519042" y="97822"/>
                  </a:cubicBezTo>
                  <a:cubicBezTo>
                    <a:pt x="2519042" y="125281"/>
                    <a:pt x="2510691" y="147570"/>
                    <a:pt x="2493990" y="164690"/>
                  </a:cubicBezTo>
                  <a:cubicBezTo>
                    <a:pt x="2477289" y="181810"/>
                    <a:pt x="2454246" y="190370"/>
                    <a:pt x="2424862" y="190370"/>
                  </a:cubicBezTo>
                  <a:lnTo>
                    <a:pt x="2382418" y="190370"/>
                  </a:lnTo>
                  <a:close/>
                  <a:moveTo>
                    <a:pt x="2239543" y="10297"/>
                  </a:moveTo>
                  <a:lnTo>
                    <a:pt x="2286884" y="10297"/>
                  </a:lnTo>
                  <a:cubicBezTo>
                    <a:pt x="2301032" y="10297"/>
                    <a:pt x="2312292" y="14106"/>
                    <a:pt x="2320663" y="21725"/>
                  </a:cubicBezTo>
                  <a:cubicBezTo>
                    <a:pt x="2329035" y="29343"/>
                    <a:pt x="2333221" y="39431"/>
                    <a:pt x="2333221" y="51988"/>
                  </a:cubicBezTo>
                  <a:cubicBezTo>
                    <a:pt x="2333221" y="62452"/>
                    <a:pt x="2330437" y="71515"/>
                    <a:pt x="2324870" y="79175"/>
                  </a:cubicBezTo>
                  <a:cubicBezTo>
                    <a:pt x="2319303" y="86835"/>
                    <a:pt x="2311538" y="92255"/>
                    <a:pt x="2301576" y="95436"/>
                  </a:cubicBezTo>
                  <a:lnTo>
                    <a:pt x="2301576" y="95939"/>
                  </a:lnTo>
                  <a:cubicBezTo>
                    <a:pt x="2314050" y="97111"/>
                    <a:pt x="2323886" y="101569"/>
                    <a:pt x="2331086" y="109312"/>
                  </a:cubicBezTo>
                  <a:cubicBezTo>
                    <a:pt x="2338286" y="117056"/>
                    <a:pt x="2341885" y="126914"/>
                    <a:pt x="2341885" y="138885"/>
                  </a:cubicBezTo>
                  <a:cubicBezTo>
                    <a:pt x="2341885" y="154037"/>
                    <a:pt x="2336988" y="166406"/>
                    <a:pt x="2327193" y="175992"/>
                  </a:cubicBezTo>
                  <a:cubicBezTo>
                    <a:pt x="2317398" y="185577"/>
                    <a:pt x="2304297" y="190370"/>
                    <a:pt x="2287889" y="190370"/>
                  </a:cubicBezTo>
                  <a:lnTo>
                    <a:pt x="2239543" y="190370"/>
                  </a:lnTo>
                  <a:close/>
                  <a:moveTo>
                    <a:pt x="1601368" y="10297"/>
                  </a:moveTo>
                  <a:lnTo>
                    <a:pt x="1613800" y="10297"/>
                  </a:lnTo>
                  <a:lnTo>
                    <a:pt x="1613800" y="179068"/>
                  </a:lnTo>
                  <a:lnTo>
                    <a:pt x="1686005" y="179068"/>
                  </a:lnTo>
                  <a:lnTo>
                    <a:pt x="1686005" y="190370"/>
                  </a:lnTo>
                  <a:lnTo>
                    <a:pt x="1601368" y="190370"/>
                  </a:lnTo>
                  <a:close/>
                  <a:moveTo>
                    <a:pt x="1491681" y="10297"/>
                  </a:moveTo>
                  <a:lnTo>
                    <a:pt x="1503485" y="10297"/>
                  </a:lnTo>
                  <a:lnTo>
                    <a:pt x="1570667" y="190370"/>
                  </a:lnTo>
                  <a:lnTo>
                    <a:pt x="1556729" y="190370"/>
                  </a:lnTo>
                  <a:lnTo>
                    <a:pt x="1536135" y="134364"/>
                  </a:lnTo>
                  <a:lnTo>
                    <a:pt x="1458028" y="134364"/>
                  </a:lnTo>
                  <a:lnTo>
                    <a:pt x="1437434" y="190370"/>
                  </a:lnTo>
                  <a:lnTo>
                    <a:pt x="1423746" y="190370"/>
                  </a:lnTo>
                  <a:close/>
                  <a:moveTo>
                    <a:pt x="972718" y="10297"/>
                  </a:moveTo>
                  <a:lnTo>
                    <a:pt x="1016166" y="10297"/>
                  </a:lnTo>
                  <a:cubicBezTo>
                    <a:pt x="1034667" y="10297"/>
                    <a:pt x="1048815" y="14588"/>
                    <a:pt x="1058610" y="23169"/>
                  </a:cubicBezTo>
                  <a:cubicBezTo>
                    <a:pt x="1068405" y="31750"/>
                    <a:pt x="1073302" y="44286"/>
                    <a:pt x="1073302" y="60778"/>
                  </a:cubicBezTo>
                  <a:cubicBezTo>
                    <a:pt x="1073302" y="77521"/>
                    <a:pt x="1067840" y="91272"/>
                    <a:pt x="1056915" y="102029"/>
                  </a:cubicBezTo>
                  <a:cubicBezTo>
                    <a:pt x="1045990" y="112786"/>
                    <a:pt x="1030691" y="118165"/>
                    <a:pt x="1011018" y="118165"/>
                  </a:cubicBezTo>
                  <a:lnTo>
                    <a:pt x="985150" y="118165"/>
                  </a:lnTo>
                  <a:lnTo>
                    <a:pt x="985150" y="190370"/>
                  </a:lnTo>
                  <a:lnTo>
                    <a:pt x="972718" y="190370"/>
                  </a:lnTo>
                  <a:close/>
                  <a:moveTo>
                    <a:pt x="629818" y="10297"/>
                  </a:moveTo>
                  <a:lnTo>
                    <a:pt x="679796" y="10297"/>
                  </a:lnTo>
                  <a:cubicBezTo>
                    <a:pt x="695702" y="10297"/>
                    <a:pt x="708197" y="14588"/>
                    <a:pt x="717280" y="23169"/>
                  </a:cubicBezTo>
                  <a:cubicBezTo>
                    <a:pt x="726363" y="31750"/>
                    <a:pt x="730905" y="43072"/>
                    <a:pt x="730905" y="57136"/>
                  </a:cubicBezTo>
                  <a:cubicBezTo>
                    <a:pt x="730905" y="70112"/>
                    <a:pt x="727179" y="80954"/>
                    <a:pt x="719729" y="89660"/>
                  </a:cubicBezTo>
                  <a:cubicBezTo>
                    <a:pt x="712278" y="98366"/>
                    <a:pt x="701855" y="103975"/>
                    <a:pt x="688461" y="106487"/>
                  </a:cubicBezTo>
                  <a:lnTo>
                    <a:pt x="688461" y="106989"/>
                  </a:lnTo>
                  <a:cubicBezTo>
                    <a:pt x="695577" y="109836"/>
                    <a:pt x="702525" y="118500"/>
                    <a:pt x="709306" y="132983"/>
                  </a:cubicBezTo>
                  <a:lnTo>
                    <a:pt x="736053" y="190370"/>
                  </a:lnTo>
                  <a:lnTo>
                    <a:pt x="721989" y="190370"/>
                  </a:lnTo>
                  <a:lnTo>
                    <a:pt x="698004" y="137629"/>
                  </a:lnTo>
                  <a:cubicBezTo>
                    <a:pt x="693065" y="126746"/>
                    <a:pt x="688126" y="119442"/>
                    <a:pt x="683187" y="115717"/>
                  </a:cubicBezTo>
                  <a:cubicBezTo>
                    <a:pt x="678247" y="111991"/>
                    <a:pt x="672052" y="110129"/>
                    <a:pt x="664602" y="110129"/>
                  </a:cubicBezTo>
                  <a:lnTo>
                    <a:pt x="642250" y="110129"/>
                  </a:lnTo>
                  <a:lnTo>
                    <a:pt x="642250" y="190370"/>
                  </a:lnTo>
                  <a:lnTo>
                    <a:pt x="629818" y="190370"/>
                  </a:lnTo>
                  <a:close/>
                  <a:moveTo>
                    <a:pt x="486943" y="10297"/>
                  </a:moveTo>
                  <a:lnTo>
                    <a:pt x="530391" y="10297"/>
                  </a:lnTo>
                  <a:cubicBezTo>
                    <a:pt x="548893" y="10297"/>
                    <a:pt x="563041" y="14588"/>
                    <a:pt x="572835" y="23169"/>
                  </a:cubicBezTo>
                  <a:cubicBezTo>
                    <a:pt x="582630" y="31750"/>
                    <a:pt x="587527" y="44286"/>
                    <a:pt x="587527" y="60778"/>
                  </a:cubicBezTo>
                  <a:cubicBezTo>
                    <a:pt x="587527" y="77521"/>
                    <a:pt x="582065" y="91272"/>
                    <a:pt x="571140" y="102029"/>
                  </a:cubicBezTo>
                  <a:cubicBezTo>
                    <a:pt x="560215" y="112786"/>
                    <a:pt x="544916" y="118165"/>
                    <a:pt x="525243" y="118165"/>
                  </a:cubicBezTo>
                  <a:lnTo>
                    <a:pt x="499375" y="118165"/>
                  </a:lnTo>
                  <a:lnTo>
                    <a:pt x="499375" y="190370"/>
                  </a:lnTo>
                  <a:lnTo>
                    <a:pt x="486943" y="190370"/>
                  </a:lnTo>
                  <a:close/>
                  <a:moveTo>
                    <a:pt x="220243" y="10297"/>
                  </a:moveTo>
                  <a:lnTo>
                    <a:pt x="265324" y="10297"/>
                  </a:lnTo>
                  <a:cubicBezTo>
                    <a:pt x="295210" y="10297"/>
                    <a:pt x="317939" y="17748"/>
                    <a:pt x="333510" y="32650"/>
                  </a:cubicBezTo>
                  <a:cubicBezTo>
                    <a:pt x="349081" y="47551"/>
                    <a:pt x="356867" y="69275"/>
                    <a:pt x="356867" y="97822"/>
                  </a:cubicBezTo>
                  <a:cubicBezTo>
                    <a:pt x="356867" y="125281"/>
                    <a:pt x="348516" y="147570"/>
                    <a:pt x="331815" y="164690"/>
                  </a:cubicBezTo>
                  <a:cubicBezTo>
                    <a:pt x="315114" y="181810"/>
                    <a:pt x="292071" y="190370"/>
                    <a:pt x="262687" y="190370"/>
                  </a:cubicBezTo>
                  <a:lnTo>
                    <a:pt x="220243" y="190370"/>
                  </a:lnTo>
                  <a:close/>
                  <a:moveTo>
                    <a:pt x="163093" y="10297"/>
                  </a:moveTo>
                  <a:lnTo>
                    <a:pt x="175525" y="10297"/>
                  </a:lnTo>
                  <a:lnTo>
                    <a:pt x="175525" y="190370"/>
                  </a:lnTo>
                  <a:lnTo>
                    <a:pt x="163093" y="190370"/>
                  </a:lnTo>
                  <a:close/>
                  <a:moveTo>
                    <a:pt x="20218" y="10297"/>
                  </a:moveTo>
                  <a:lnTo>
                    <a:pt x="67559" y="10297"/>
                  </a:lnTo>
                  <a:cubicBezTo>
                    <a:pt x="81707" y="10297"/>
                    <a:pt x="92967" y="14106"/>
                    <a:pt x="101338" y="21725"/>
                  </a:cubicBezTo>
                  <a:cubicBezTo>
                    <a:pt x="109710" y="29343"/>
                    <a:pt x="113896" y="39431"/>
                    <a:pt x="113896" y="51988"/>
                  </a:cubicBezTo>
                  <a:cubicBezTo>
                    <a:pt x="113896" y="62452"/>
                    <a:pt x="111112" y="71515"/>
                    <a:pt x="105545" y="79175"/>
                  </a:cubicBezTo>
                  <a:cubicBezTo>
                    <a:pt x="99978" y="86835"/>
                    <a:pt x="92213" y="92255"/>
                    <a:pt x="82251" y="95436"/>
                  </a:cubicBezTo>
                  <a:lnTo>
                    <a:pt x="82251" y="95939"/>
                  </a:lnTo>
                  <a:cubicBezTo>
                    <a:pt x="94725" y="97111"/>
                    <a:pt x="104562" y="101569"/>
                    <a:pt x="111761" y="109312"/>
                  </a:cubicBezTo>
                  <a:cubicBezTo>
                    <a:pt x="118961" y="117056"/>
                    <a:pt x="122560" y="126914"/>
                    <a:pt x="122560" y="138885"/>
                  </a:cubicBezTo>
                  <a:cubicBezTo>
                    <a:pt x="122560" y="154037"/>
                    <a:pt x="117663" y="166406"/>
                    <a:pt x="107868" y="175992"/>
                  </a:cubicBezTo>
                  <a:cubicBezTo>
                    <a:pt x="98074" y="185577"/>
                    <a:pt x="84972" y="190370"/>
                    <a:pt x="68564" y="190370"/>
                  </a:cubicBezTo>
                  <a:lnTo>
                    <a:pt x="20218" y="190370"/>
                  </a:lnTo>
                  <a:close/>
                  <a:moveTo>
                    <a:pt x="1365345" y="7284"/>
                  </a:moveTo>
                  <a:cubicBezTo>
                    <a:pt x="1376061" y="7284"/>
                    <a:pt x="1386776" y="9084"/>
                    <a:pt x="1397492" y="12683"/>
                  </a:cubicBezTo>
                  <a:lnTo>
                    <a:pt x="1397492" y="25743"/>
                  </a:lnTo>
                  <a:cubicBezTo>
                    <a:pt x="1386944" y="20971"/>
                    <a:pt x="1375684" y="18585"/>
                    <a:pt x="1363713" y="18585"/>
                  </a:cubicBezTo>
                  <a:cubicBezTo>
                    <a:pt x="1351490" y="18585"/>
                    <a:pt x="1341800" y="21683"/>
                    <a:pt x="1334642" y="27878"/>
                  </a:cubicBezTo>
                  <a:cubicBezTo>
                    <a:pt x="1327485" y="34073"/>
                    <a:pt x="1323906" y="41942"/>
                    <a:pt x="1323906" y="51486"/>
                  </a:cubicBezTo>
                  <a:cubicBezTo>
                    <a:pt x="1323906" y="60694"/>
                    <a:pt x="1326354" y="68019"/>
                    <a:pt x="1331252" y="73461"/>
                  </a:cubicBezTo>
                  <a:cubicBezTo>
                    <a:pt x="1336149" y="78903"/>
                    <a:pt x="1346718" y="86311"/>
                    <a:pt x="1362959" y="95688"/>
                  </a:cubicBezTo>
                  <a:cubicBezTo>
                    <a:pt x="1379786" y="105231"/>
                    <a:pt x="1390983" y="113707"/>
                    <a:pt x="1396550" y="121116"/>
                  </a:cubicBezTo>
                  <a:cubicBezTo>
                    <a:pt x="1402117" y="128525"/>
                    <a:pt x="1404901" y="137043"/>
                    <a:pt x="1404901" y="146670"/>
                  </a:cubicBezTo>
                  <a:cubicBezTo>
                    <a:pt x="1404901" y="160484"/>
                    <a:pt x="1400108" y="171743"/>
                    <a:pt x="1390523" y="180450"/>
                  </a:cubicBezTo>
                  <a:cubicBezTo>
                    <a:pt x="1380937" y="189156"/>
                    <a:pt x="1367396" y="193509"/>
                    <a:pt x="1349899" y="193509"/>
                  </a:cubicBezTo>
                  <a:cubicBezTo>
                    <a:pt x="1343704" y="193509"/>
                    <a:pt x="1336568" y="192547"/>
                    <a:pt x="1328489" y="190621"/>
                  </a:cubicBezTo>
                  <a:cubicBezTo>
                    <a:pt x="1320411" y="188696"/>
                    <a:pt x="1314237" y="186477"/>
                    <a:pt x="1309967" y="183966"/>
                  </a:cubicBezTo>
                  <a:lnTo>
                    <a:pt x="1309967" y="169776"/>
                  </a:lnTo>
                  <a:cubicBezTo>
                    <a:pt x="1322859" y="177980"/>
                    <a:pt x="1335919" y="182082"/>
                    <a:pt x="1349146" y="182082"/>
                  </a:cubicBezTo>
                  <a:cubicBezTo>
                    <a:pt x="1363210" y="182082"/>
                    <a:pt x="1373884" y="179173"/>
                    <a:pt x="1381167" y="173355"/>
                  </a:cubicBezTo>
                  <a:cubicBezTo>
                    <a:pt x="1388451" y="167537"/>
                    <a:pt x="1392092" y="159395"/>
                    <a:pt x="1392092" y="148931"/>
                  </a:cubicBezTo>
                  <a:cubicBezTo>
                    <a:pt x="1392092" y="139722"/>
                    <a:pt x="1389644" y="132376"/>
                    <a:pt x="1384746" y="126893"/>
                  </a:cubicBezTo>
                  <a:cubicBezTo>
                    <a:pt x="1379849" y="121409"/>
                    <a:pt x="1369238" y="113938"/>
                    <a:pt x="1352913" y="104478"/>
                  </a:cubicBezTo>
                  <a:cubicBezTo>
                    <a:pt x="1334663" y="93846"/>
                    <a:pt x="1323110" y="84951"/>
                    <a:pt x="1318255" y="77793"/>
                  </a:cubicBezTo>
                  <a:cubicBezTo>
                    <a:pt x="1313399" y="70636"/>
                    <a:pt x="1310972" y="62369"/>
                    <a:pt x="1310972" y="52992"/>
                  </a:cubicBezTo>
                  <a:cubicBezTo>
                    <a:pt x="1310972" y="40268"/>
                    <a:pt x="1315911" y="29468"/>
                    <a:pt x="1325789" y="20594"/>
                  </a:cubicBezTo>
                  <a:cubicBezTo>
                    <a:pt x="1335668" y="11721"/>
                    <a:pt x="1348853" y="7284"/>
                    <a:pt x="1365345" y="7284"/>
                  </a:cubicBezTo>
                  <a:close/>
                  <a:moveTo>
                    <a:pt x="1193072" y="7284"/>
                  </a:moveTo>
                  <a:cubicBezTo>
                    <a:pt x="1217349" y="7284"/>
                    <a:pt x="1237002" y="15592"/>
                    <a:pt x="1252029" y="32210"/>
                  </a:cubicBezTo>
                  <a:cubicBezTo>
                    <a:pt x="1267056" y="48828"/>
                    <a:pt x="1274569" y="70615"/>
                    <a:pt x="1274569" y="97571"/>
                  </a:cubicBezTo>
                  <a:cubicBezTo>
                    <a:pt x="1274569" y="127374"/>
                    <a:pt x="1266867" y="150814"/>
                    <a:pt x="1251464" y="167892"/>
                  </a:cubicBezTo>
                  <a:cubicBezTo>
                    <a:pt x="1236060" y="184970"/>
                    <a:pt x="1215466" y="193509"/>
                    <a:pt x="1189681" y="193509"/>
                  </a:cubicBezTo>
                  <a:cubicBezTo>
                    <a:pt x="1164232" y="193509"/>
                    <a:pt x="1143952" y="185054"/>
                    <a:pt x="1128841" y="168144"/>
                  </a:cubicBezTo>
                  <a:cubicBezTo>
                    <a:pt x="1113730" y="151233"/>
                    <a:pt x="1106175" y="129258"/>
                    <a:pt x="1106175" y="102217"/>
                  </a:cubicBezTo>
                  <a:cubicBezTo>
                    <a:pt x="1106175" y="73503"/>
                    <a:pt x="1113939" y="50502"/>
                    <a:pt x="1129469" y="33215"/>
                  </a:cubicBezTo>
                  <a:cubicBezTo>
                    <a:pt x="1144998" y="15927"/>
                    <a:pt x="1166199" y="7284"/>
                    <a:pt x="1193072" y="7284"/>
                  </a:cubicBezTo>
                  <a:close/>
                  <a:moveTo>
                    <a:pt x="850172" y="7284"/>
                  </a:moveTo>
                  <a:cubicBezTo>
                    <a:pt x="874449" y="7284"/>
                    <a:pt x="894102" y="15592"/>
                    <a:pt x="909129" y="32210"/>
                  </a:cubicBezTo>
                  <a:cubicBezTo>
                    <a:pt x="924156" y="48828"/>
                    <a:pt x="931669" y="70615"/>
                    <a:pt x="931669" y="97571"/>
                  </a:cubicBezTo>
                  <a:cubicBezTo>
                    <a:pt x="931669" y="127374"/>
                    <a:pt x="923967" y="150814"/>
                    <a:pt x="908564" y="167892"/>
                  </a:cubicBezTo>
                  <a:cubicBezTo>
                    <a:pt x="893160" y="184970"/>
                    <a:pt x="872566" y="193509"/>
                    <a:pt x="846781" y="193509"/>
                  </a:cubicBezTo>
                  <a:cubicBezTo>
                    <a:pt x="821332" y="193509"/>
                    <a:pt x="801052" y="185054"/>
                    <a:pt x="785941" y="168144"/>
                  </a:cubicBezTo>
                  <a:cubicBezTo>
                    <a:pt x="770830" y="151233"/>
                    <a:pt x="763275" y="129258"/>
                    <a:pt x="763275" y="102217"/>
                  </a:cubicBezTo>
                  <a:cubicBezTo>
                    <a:pt x="763275" y="73503"/>
                    <a:pt x="771039" y="50502"/>
                    <a:pt x="786569" y="33215"/>
                  </a:cubicBezTo>
                  <a:cubicBezTo>
                    <a:pt x="802098" y="15927"/>
                    <a:pt x="823299" y="7284"/>
                    <a:pt x="850172" y="7284"/>
                  </a:cubicBezTo>
                  <a:close/>
                  <a:moveTo>
                    <a:pt x="2109248" y="0"/>
                  </a:moveTo>
                  <a:lnTo>
                    <a:pt x="2120801" y="0"/>
                  </a:lnTo>
                  <a:lnTo>
                    <a:pt x="2120801" y="190370"/>
                  </a:lnTo>
                  <a:lnTo>
                    <a:pt x="2109248" y="190370"/>
                  </a:lnTo>
                  <a:lnTo>
                    <a:pt x="2109248" y="167013"/>
                  </a:lnTo>
                  <a:lnTo>
                    <a:pt x="2108746" y="167013"/>
                  </a:lnTo>
                  <a:cubicBezTo>
                    <a:pt x="2104560" y="175134"/>
                    <a:pt x="2098365" y="181580"/>
                    <a:pt x="2090161" y="186352"/>
                  </a:cubicBezTo>
                  <a:cubicBezTo>
                    <a:pt x="2081957" y="191124"/>
                    <a:pt x="2072706" y="193509"/>
                    <a:pt x="2062409" y="193509"/>
                  </a:cubicBezTo>
                  <a:cubicBezTo>
                    <a:pt x="2046587" y="193509"/>
                    <a:pt x="2033674" y="187733"/>
                    <a:pt x="2023670" y="176180"/>
                  </a:cubicBezTo>
                  <a:cubicBezTo>
                    <a:pt x="2013666" y="164628"/>
                    <a:pt x="2008664" y="148680"/>
                    <a:pt x="2008664" y="128337"/>
                  </a:cubicBezTo>
                  <a:cubicBezTo>
                    <a:pt x="2008664" y="107575"/>
                    <a:pt x="2014126" y="90769"/>
                    <a:pt x="2025051" y="77919"/>
                  </a:cubicBezTo>
                  <a:cubicBezTo>
                    <a:pt x="2035976" y="65068"/>
                    <a:pt x="2050145" y="58643"/>
                    <a:pt x="2067558" y="58643"/>
                  </a:cubicBezTo>
                  <a:cubicBezTo>
                    <a:pt x="2086813" y="58643"/>
                    <a:pt x="2100542" y="66554"/>
                    <a:pt x="2108746" y="82377"/>
                  </a:cubicBezTo>
                  <a:lnTo>
                    <a:pt x="2109248" y="82377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Rectangle 22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265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32" name="Rectangle 31"/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/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7089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32" name="Rectangle 31"/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/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9827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11" name="Oval 10"/>
          <p:cNvSpPr/>
          <p:nvPr userDrawn="1"/>
        </p:nvSpPr>
        <p:spPr>
          <a:xfrm>
            <a:off x="-263964" y="339439"/>
            <a:ext cx="2925967" cy="2925967"/>
          </a:xfrm>
          <a:prstGeom prst="ellipse">
            <a:avLst/>
          </a:prstGeom>
          <a:solidFill>
            <a:srgbClr val="00B0F0">
              <a:alpha val="55000"/>
            </a:srgbClr>
          </a:solidFill>
          <a:ln w="1270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 userDrawn="1"/>
        </p:nvSpPr>
        <p:spPr>
          <a:xfrm>
            <a:off x="5383855" y="2056906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Oval 29"/>
          <p:cNvSpPr/>
          <p:nvPr userDrawn="1"/>
        </p:nvSpPr>
        <p:spPr>
          <a:xfrm>
            <a:off x="8497150" y="2422340"/>
            <a:ext cx="4361402" cy="4361402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9267024" y="3064923"/>
            <a:ext cx="2863850" cy="322475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tabLst/>
              <a:defRPr lang="en-US" sz="3200" b="1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ELEMENT HERE</a:t>
            </a:r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-145845" y="606491"/>
            <a:ext cx="2678430" cy="242475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tabLst/>
              <a:defRPr lang="en-US" sz="3200" b="1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ELEMENT HERE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5597831" y="2422340"/>
            <a:ext cx="3094411" cy="282274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 typeface="Arial" charset="0"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ELEMENT HER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B223B4-2172-E344-8AC6-332A4BF816AA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B5E68A-FDC8-2C47-AE65-2AF308B7BC7D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71B932D-8F8F-5D4B-9C5C-471CC231F8D5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F77E35E-094B-0749-8EE2-52758E4F192D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44FCCB37-1D9E-D644-A01B-FBB69388F5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B784B7C-1D9A-1B4A-AD97-1EC6927773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6AAE302C-8C52-5444-B725-1A8A2EDAD1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C816BD51-6C36-0643-AED7-503B2423D7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8F5B0DB3-8659-AD48-80BC-4D9D974D8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D6303794-9E85-944B-B942-6B49C12FB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169FD32C-8435-2845-B862-D1DED0D9C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A88D1064-BF7E-D641-9774-3060CC621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096D856-AF2D-8247-9126-E2BEEEA15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81CC8311-A0BB-AE4F-ABE5-D83A57DFC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07709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EC5783D-DAE0-7842-99D1-46FA17ED0593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CD1F30-1916-764C-8D9E-16CBF903D547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782589A-66CE-964D-A54F-E10F5F327775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CA04478-2F36-EF4C-A802-8A0046018A62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C3A3EB06-09F0-2245-B5E8-75FC52307E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922A0041-32C7-3144-9910-A0C50C7F4E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25F82F68-36D5-1A49-9295-278631407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23377394-0579-004A-B48C-898702EA92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4C9B4CCB-9C83-B843-9366-6E0C030CC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E406EBB0-AC0C-7C40-8902-B8C78BC1C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A27FD54D-5923-DE4E-89F7-EF6269736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1BC7EDB-1044-AD40-A749-A136F73DA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11523215-5B42-234D-B55F-645CE81B1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1C0EF04E-3CA4-C146-8393-F44FDC786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EE5A6EAB-6E94-4FB2-9157-D2EC76F24057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364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8655340" y="3816161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9446293" y="-107103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Oval 10"/>
          <p:cNvSpPr/>
          <p:nvPr userDrawn="1"/>
        </p:nvSpPr>
        <p:spPr>
          <a:xfrm>
            <a:off x="5368812" y="1345482"/>
            <a:ext cx="4361402" cy="4361402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542384" y="2071397"/>
            <a:ext cx="3992061" cy="305809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9534445" y="567475"/>
            <a:ext cx="2678430" cy="160969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869316" y="4824177"/>
            <a:ext cx="3094411" cy="15375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Font typeface="Arial" charset="0"/>
              <a:buNone/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6BAE7BC-348D-654C-A9CA-FBAC215D3E24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3B37C18-45D8-5E4E-90B7-8B5E09122F1E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F8FE107-8B72-654E-9D4A-516F5AD80DE9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AD902B-86CD-4E4F-AAEA-3A98395B44F9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A587DEAA-4526-0D47-9B65-DE4132EAFC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167B758F-4BE2-574E-9443-AADCFD100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B2AD71D2-BBAD-1C4F-917D-B1657D09F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56503579-951C-7A43-8591-5305128DD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40BC9860-83E9-3E4F-B3BF-EFE2BF6B7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6BC04618-9829-6A4F-8B18-E6FD8849F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03677E64-09FC-DE4F-B5F8-70E766247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2D863026-7F54-1F47-AF1B-C2F82DC10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E7052D4F-2516-2D4D-B469-2A41A53DF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48363248-85B7-2144-A412-2E3737D1C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68188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2FD803C-129F-9C41-8A52-BCD48AAE0686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FC1685F-7A0E-AA49-8AB3-FAB147214B21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2EBAD5C-57CB-3441-AFE8-CDC19D95C2E9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647192E-9FDA-814B-9F71-D87F171E05B8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07E0126B-8551-2740-BC54-08190DFF88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61BE04EC-6271-F44B-9EFE-F677D9AB3A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E7C7B2DA-5BAE-174E-8D02-0440D9595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3C076F7B-954B-F34B-B1E7-B0875BBD2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89C8369F-FDFB-0F47-A95C-A3705F1AD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79BEE57C-7EBA-4541-AF13-E0519D90E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C01FA6B7-DD93-3E46-A5A1-B27F57EA0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57224192-1E2B-CE4A-8BE8-AD6705D25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242E51FE-D692-5A4F-9BA2-A0B9B1EB3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19083AC0-2784-244C-A480-8C2894A7C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4EF25602-8B29-44EB-A7BE-AC05A23B5436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7044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-263964" y="-88900"/>
            <a:ext cx="2997200" cy="2997200"/>
          </a:xfrm>
          <a:prstGeom prst="ellipse">
            <a:avLst/>
          </a:prstGeom>
          <a:solidFill>
            <a:srgbClr val="00B0F0">
              <a:alpha val="55000"/>
            </a:srgbClr>
          </a:solidFill>
          <a:ln w="1270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 userDrawn="1"/>
        </p:nvSpPr>
        <p:spPr>
          <a:xfrm>
            <a:off x="3419036" y="1054100"/>
            <a:ext cx="3848100" cy="384810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 userDrawn="1"/>
        </p:nvSpPr>
        <p:spPr>
          <a:xfrm>
            <a:off x="2012280" y="3822700"/>
            <a:ext cx="2400300" cy="240030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 userDrawn="1"/>
        </p:nvSpPr>
        <p:spPr>
          <a:xfrm>
            <a:off x="8164760" y="2894260"/>
            <a:ext cx="3328740" cy="332874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641111" y="1409700"/>
            <a:ext cx="3412832" cy="313690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tabLst/>
              <a:defRPr lang="en-US" sz="3200" b="0" baseline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24652" y="177283"/>
            <a:ext cx="2419968" cy="246483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buNone/>
              <a:tabLst/>
              <a:defRPr lang="en-US" sz="3200" b="1" i="0" smtClean="0">
                <a:solidFill>
                  <a:srgbClr val="FFFFFF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MAIN POINT 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281924" y="3294958"/>
            <a:ext cx="3094411" cy="25273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Font typeface="Arial" charset="0"/>
              <a:buNone/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2012279" y="4090177"/>
            <a:ext cx="2400302" cy="18653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charset="0"/>
              <a:buNone/>
              <a:defRPr sz="32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 sz="2400" b="0"/>
              <a:t>BULLET CONTENT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7E93688-629E-3A40-8964-21592F187858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2641B14-794E-CF4F-B4DC-D98262C6B91E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003BC29-82FF-5A42-B0BC-756425F519E3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D78B2DA-E3A9-1147-8CB6-4919111A84B5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220CDC-7E3B-8E49-A267-96816C848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FB11788E-268D-F041-B616-6CFF717826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2742D39A-8020-6845-B9B0-ED9E2F486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42B42763-68D7-1344-8EAD-1A91DDC2C9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5391ED16-AB59-F341-979A-35A381A7D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5AFFFA96-6F7B-EC47-B966-F69CB7425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29AE4ACD-2886-1F43-8B57-112AA9147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792F964B-108A-6E46-8DDF-1DF64F349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D82C29F5-6A6B-234C-A1F8-A42CFD88F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358BEF10-2669-7445-90AF-BB0196B8D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0333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C51561D-F922-1645-A1D4-4D6A283F6A11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CD66FE6-77D4-7C4A-9FAB-5E74B800E101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4D766AE-CA65-A64B-98CE-55CD150230AF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59ACB70-C5F4-AC4F-829F-464849845AC4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C4CD44A-B4F8-8B41-BA53-E072663156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854865C8-1FCE-4C4D-BE17-7E4411CE3D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A068500E-A0B4-9C40-B692-9A43C2A64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39B68999-7567-AC4D-BE35-5BD380C933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C687C015-8815-5445-A89A-60DA2D286F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EE69180-23C2-874A-AD10-8145CF45A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FD99F15B-1258-8040-89ED-EAFAD38C3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02CC2943-F0ED-7845-8C72-7E7EC2533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278A2B9-53C1-1044-8413-3F06A6D32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529D49E0-8136-9645-8DAD-971510288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0648C611-65C5-46C1-AC63-D085FF4832DD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164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915DC0-09B6-40D4-873D-9B1EEAA4D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168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915DC0-09B6-40D4-873D-9B1EEAA4D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969D16-5166-4139-BD53-0A074CD3DD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Segoe Light"/>
              <a:ea typeface="+mj-ea"/>
              <a:cs typeface="+mj-cs"/>
              <a:sym typeface="Segoe Light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3794385" y="2603715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Oval 10"/>
          <p:cNvSpPr/>
          <p:nvPr userDrawn="1"/>
        </p:nvSpPr>
        <p:spPr>
          <a:xfrm>
            <a:off x="-194241" y="1512258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Oval 12"/>
          <p:cNvSpPr/>
          <p:nvPr userDrawn="1"/>
        </p:nvSpPr>
        <p:spPr>
          <a:xfrm>
            <a:off x="8455422" y="817983"/>
            <a:ext cx="3083160" cy="308316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563554" y="1062135"/>
            <a:ext cx="2863850" cy="2594856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-106089" y="1838688"/>
            <a:ext cx="2678430" cy="230599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8361" y="2971864"/>
            <a:ext cx="3094411" cy="281731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ct val="0"/>
              </a:spcBef>
              <a:defRPr sz="3200" b="1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89FA5C9-D13E-D541-9E41-F571357C59C9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AA9114E-F32F-814B-8C99-132CEB2416D0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4D1FFF3-AF65-BB4E-9525-4A7D387A760F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3C86F6E-CF8F-B346-B39B-51F9E88CECA8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23D00C9B-538C-0E43-9181-08D63046B8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135375E-CC62-4C43-8288-69F29C52A7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B0B1D87E-D0CC-924A-832F-C1B473CC3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E3BC9953-725E-7840-BCEF-FABFBC0F90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D0077CFE-48BE-1245-B9BF-F45D2AABB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F0E7C992-8EE7-A546-B232-3F6148AEC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30F723B7-B447-FC4F-BEBA-5EB57DB0E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E6E6151-1FED-DE43-9CB3-B29E98B50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CA6251A2-234C-1E4D-B93B-2AD8C7182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92F43D1-4BE6-3E44-A41C-5BED6DFAF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2871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4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E09B03C-F43B-EB49-BD38-2A13A091B8C2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1C351F0-F318-A84A-8163-3D80A2065E90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3D63553-3E7F-9143-B11A-4455AA1CD4D8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D5226CB-50C2-D140-A6E5-AAFA1CAD0628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004DCC8-627A-4545-BC42-0746646F7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3E569A6-637A-004B-9E74-712F37D223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D69B07A2-9334-9E4F-8CE5-A0571DA6F9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3E4CD7B1-993F-7F4A-9C6C-24E02A08C5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211AE2A7-A771-014D-897E-823531DF6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B420BF33-FDD1-1E4D-933F-BA987E2E1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73E47BF8-74BE-B249-BF1C-B9DE582FA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A38B8130-DF36-8E4C-872D-6B6AA703D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46C2243-DF7E-D646-AAD0-4FFB63170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E5A04954-CC68-0343-8E8D-1FA5E9321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84DE597-A5A6-4291-8E76-0308358FF6D6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689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174" y="1786655"/>
            <a:ext cx="6569539" cy="2387600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868" y="4580720"/>
            <a:ext cx="6574845" cy="78169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Oval 25"/>
          <p:cNvSpPr/>
          <p:nvPr/>
        </p:nvSpPr>
        <p:spPr>
          <a:xfrm>
            <a:off x="7515351" y="1894006"/>
            <a:ext cx="1280433" cy="1280433"/>
          </a:xfrm>
          <a:prstGeom prst="ellipse">
            <a:avLst/>
          </a:prstGeom>
          <a:solidFill>
            <a:srgbClr val="009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26"/>
          <p:cNvGrpSpPr>
            <a:grpSpLocks noChangeAspect="1"/>
          </p:cNvGrpSpPr>
          <p:nvPr userDrawn="1"/>
        </p:nvGrpSpPr>
        <p:grpSpPr>
          <a:xfrm>
            <a:off x="7692875" y="1999432"/>
            <a:ext cx="937523" cy="928920"/>
            <a:chOff x="3643313" y="3529013"/>
            <a:chExt cx="346075" cy="342900"/>
          </a:xfrm>
          <a:solidFill>
            <a:schemeClr val="bg1"/>
          </a:solidFill>
        </p:grpSpPr>
        <p:sp>
          <p:nvSpPr>
            <p:cNvPr id="28" name="Freeform 204">
              <a:extLst>
                <a:ext uri="{FF2B5EF4-FFF2-40B4-BE49-F238E27FC236}">
                  <a16:creationId xmlns:a16="http://schemas.microsoft.com/office/drawing/2014/main" id="{4284897B-E7EF-47C6-BB33-899393CA3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313" y="3700463"/>
              <a:ext cx="346075" cy="171450"/>
            </a:xfrm>
            <a:custGeom>
              <a:avLst/>
              <a:gdLst>
                <a:gd name="T0" fmla="*/ 628 w 638"/>
                <a:gd name="T1" fmla="*/ 328 h 328"/>
                <a:gd name="T2" fmla="*/ 11 w 638"/>
                <a:gd name="T3" fmla="*/ 328 h 328"/>
                <a:gd name="T4" fmla="*/ 3 w 638"/>
                <a:gd name="T5" fmla="*/ 325 h 328"/>
                <a:gd name="T6" fmla="*/ 0 w 638"/>
                <a:gd name="T7" fmla="*/ 317 h 328"/>
                <a:gd name="T8" fmla="*/ 262 w 638"/>
                <a:gd name="T9" fmla="*/ 5 h 328"/>
                <a:gd name="T10" fmla="*/ 275 w 638"/>
                <a:gd name="T11" fmla="*/ 14 h 328"/>
                <a:gd name="T12" fmla="*/ 266 w 638"/>
                <a:gd name="T13" fmla="*/ 26 h 328"/>
                <a:gd name="T14" fmla="*/ 22 w 638"/>
                <a:gd name="T15" fmla="*/ 306 h 328"/>
                <a:gd name="T16" fmla="*/ 616 w 638"/>
                <a:gd name="T17" fmla="*/ 306 h 328"/>
                <a:gd name="T18" fmla="*/ 335 w 638"/>
                <a:gd name="T19" fmla="*/ 22 h 328"/>
                <a:gd name="T20" fmla="*/ 324 w 638"/>
                <a:gd name="T21" fmla="*/ 11 h 328"/>
                <a:gd name="T22" fmla="*/ 336 w 638"/>
                <a:gd name="T23" fmla="*/ 0 h 328"/>
                <a:gd name="T24" fmla="*/ 638 w 638"/>
                <a:gd name="T25" fmla="*/ 317 h 328"/>
                <a:gd name="T26" fmla="*/ 635 w 638"/>
                <a:gd name="T27" fmla="*/ 325 h 328"/>
                <a:gd name="T28" fmla="*/ 628 w 638"/>
                <a:gd name="T29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8" h="328">
                  <a:moveTo>
                    <a:pt x="628" y="328"/>
                  </a:moveTo>
                  <a:lnTo>
                    <a:pt x="11" y="328"/>
                  </a:lnTo>
                  <a:cubicBezTo>
                    <a:pt x="8" y="328"/>
                    <a:pt x="5" y="327"/>
                    <a:pt x="3" y="325"/>
                  </a:cubicBezTo>
                  <a:cubicBezTo>
                    <a:pt x="1" y="323"/>
                    <a:pt x="0" y="320"/>
                    <a:pt x="0" y="317"/>
                  </a:cubicBezTo>
                  <a:cubicBezTo>
                    <a:pt x="1" y="163"/>
                    <a:pt x="111" y="32"/>
                    <a:pt x="262" y="5"/>
                  </a:cubicBezTo>
                  <a:cubicBezTo>
                    <a:pt x="268" y="4"/>
                    <a:pt x="274" y="8"/>
                    <a:pt x="275" y="14"/>
                  </a:cubicBezTo>
                  <a:cubicBezTo>
                    <a:pt x="276" y="20"/>
                    <a:pt x="272" y="25"/>
                    <a:pt x="266" y="26"/>
                  </a:cubicBezTo>
                  <a:cubicBezTo>
                    <a:pt x="129" y="51"/>
                    <a:pt x="28" y="168"/>
                    <a:pt x="22" y="306"/>
                  </a:cubicBezTo>
                  <a:lnTo>
                    <a:pt x="616" y="306"/>
                  </a:lnTo>
                  <a:cubicBezTo>
                    <a:pt x="610" y="154"/>
                    <a:pt x="488" y="30"/>
                    <a:pt x="335" y="22"/>
                  </a:cubicBezTo>
                  <a:cubicBezTo>
                    <a:pt x="329" y="22"/>
                    <a:pt x="324" y="17"/>
                    <a:pt x="324" y="11"/>
                  </a:cubicBezTo>
                  <a:cubicBezTo>
                    <a:pt x="325" y="5"/>
                    <a:pt x="330" y="0"/>
                    <a:pt x="336" y="0"/>
                  </a:cubicBezTo>
                  <a:cubicBezTo>
                    <a:pt x="504" y="9"/>
                    <a:pt x="637" y="148"/>
                    <a:pt x="638" y="317"/>
                  </a:cubicBezTo>
                  <a:cubicBezTo>
                    <a:pt x="638" y="320"/>
                    <a:pt x="637" y="323"/>
                    <a:pt x="635" y="325"/>
                  </a:cubicBezTo>
                  <a:cubicBezTo>
                    <a:pt x="633" y="327"/>
                    <a:pt x="630" y="328"/>
                    <a:pt x="628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6">
              <a:extLst>
                <a:ext uri="{FF2B5EF4-FFF2-40B4-BE49-F238E27FC236}">
                  <a16:creationId xmlns:a16="http://schemas.microsoft.com/office/drawing/2014/main" id="{42990D4E-1C06-4A8B-A3F7-9E229B5C3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3557588"/>
              <a:ext cx="115888" cy="192088"/>
            </a:xfrm>
            <a:custGeom>
              <a:avLst/>
              <a:gdLst>
                <a:gd name="T0" fmla="*/ 81 w 216"/>
                <a:gd name="T1" fmla="*/ 198 h 371"/>
                <a:gd name="T2" fmla="*/ 89 w 216"/>
                <a:gd name="T3" fmla="*/ 347 h 371"/>
                <a:gd name="T4" fmla="*/ 103 w 216"/>
                <a:gd name="T5" fmla="*/ 347 h 371"/>
                <a:gd name="T6" fmla="*/ 108 w 216"/>
                <a:gd name="T7" fmla="*/ 104 h 371"/>
                <a:gd name="T8" fmla="*/ 135 w 216"/>
                <a:gd name="T9" fmla="*/ 140 h 371"/>
                <a:gd name="T10" fmla="*/ 140 w 216"/>
                <a:gd name="T11" fmla="*/ 142 h 371"/>
                <a:gd name="T12" fmla="*/ 196 w 216"/>
                <a:gd name="T13" fmla="*/ 121 h 371"/>
                <a:gd name="T14" fmla="*/ 195 w 216"/>
                <a:gd name="T15" fmla="*/ 119 h 371"/>
                <a:gd name="T16" fmla="*/ 148 w 216"/>
                <a:gd name="T17" fmla="*/ 132 h 371"/>
                <a:gd name="T18" fmla="*/ 90 w 216"/>
                <a:gd name="T19" fmla="*/ 79 h 371"/>
                <a:gd name="T20" fmla="*/ 88 w 216"/>
                <a:gd name="T21" fmla="*/ 63 h 371"/>
                <a:gd name="T22" fmla="*/ 77 w 216"/>
                <a:gd name="T23" fmla="*/ 17 h 371"/>
                <a:gd name="T24" fmla="*/ 66 w 216"/>
                <a:gd name="T25" fmla="*/ 63 h 371"/>
                <a:gd name="T26" fmla="*/ 64 w 216"/>
                <a:gd name="T27" fmla="*/ 78 h 371"/>
                <a:gd name="T28" fmla="*/ 17 w 216"/>
                <a:gd name="T29" fmla="*/ 211 h 371"/>
                <a:gd name="T30" fmla="*/ 24 w 216"/>
                <a:gd name="T31" fmla="*/ 161 h 371"/>
                <a:gd name="T32" fmla="*/ 46 w 216"/>
                <a:gd name="T33" fmla="*/ 104 h 371"/>
                <a:gd name="T34" fmla="*/ 52 w 216"/>
                <a:gd name="T35" fmla="*/ 347 h 371"/>
                <a:gd name="T36" fmla="*/ 65 w 216"/>
                <a:gd name="T37" fmla="*/ 347 h 371"/>
                <a:gd name="T38" fmla="*/ 74 w 216"/>
                <a:gd name="T39" fmla="*/ 198 h 371"/>
                <a:gd name="T40" fmla="*/ 77 w 216"/>
                <a:gd name="T41" fmla="*/ 361 h 371"/>
                <a:gd name="T42" fmla="*/ 35 w 216"/>
                <a:gd name="T43" fmla="*/ 347 h 371"/>
                <a:gd name="T44" fmla="*/ 21 w 216"/>
                <a:gd name="T45" fmla="*/ 232 h 371"/>
                <a:gd name="T46" fmla="*/ 0 w 216"/>
                <a:gd name="T47" fmla="*/ 161 h 371"/>
                <a:gd name="T48" fmla="*/ 36 w 216"/>
                <a:gd name="T49" fmla="*/ 41 h 371"/>
                <a:gd name="T50" fmla="*/ 118 w 216"/>
                <a:gd name="T51" fmla="*/ 41 h 371"/>
                <a:gd name="T52" fmla="*/ 150 w 216"/>
                <a:gd name="T53" fmla="*/ 114 h 371"/>
                <a:gd name="T54" fmla="*/ 203 w 216"/>
                <a:gd name="T55" fmla="*/ 104 h 371"/>
                <a:gd name="T56" fmla="*/ 199 w 216"/>
                <a:gd name="T57" fmla="*/ 142 h 371"/>
                <a:gd name="T58" fmla="*/ 129 w 216"/>
                <a:gd name="T59" fmla="*/ 157 h 371"/>
                <a:gd name="T60" fmla="*/ 119 w 216"/>
                <a:gd name="T61" fmla="*/ 145 h 371"/>
                <a:gd name="T62" fmla="*/ 96 w 216"/>
                <a:gd name="T6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371">
                  <a:moveTo>
                    <a:pt x="74" y="198"/>
                  </a:moveTo>
                  <a:lnTo>
                    <a:pt x="81" y="198"/>
                  </a:lnTo>
                  <a:cubicBezTo>
                    <a:pt x="85" y="198"/>
                    <a:pt x="89" y="202"/>
                    <a:pt x="89" y="206"/>
                  </a:cubicBezTo>
                  <a:lnTo>
                    <a:pt x="89" y="347"/>
                  </a:lnTo>
                  <a:cubicBezTo>
                    <a:pt x="89" y="351"/>
                    <a:pt x="92" y="354"/>
                    <a:pt x="96" y="354"/>
                  </a:cubicBezTo>
                  <a:cubicBezTo>
                    <a:pt x="100" y="354"/>
                    <a:pt x="103" y="351"/>
                    <a:pt x="103" y="347"/>
                  </a:cubicBezTo>
                  <a:lnTo>
                    <a:pt x="103" y="112"/>
                  </a:lnTo>
                  <a:cubicBezTo>
                    <a:pt x="103" y="108"/>
                    <a:pt x="105" y="105"/>
                    <a:pt x="108" y="104"/>
                  </a:cubicBezTo>
                  <a:cubicBezTo>
                    <a:pt x="111" y="103"/>
                    <a:pt x="115" y="104"/>
                    <a:pt x="117" y="107"/>
                  </a:cubicBezTo>
                  <a:cubicBezTo>
                    <a:pt x="130" y="122"/>
                    <a:pt x="135" y="140"/>
                    <a:pt x="135" y="140"/>
                  </a:cubicBezTo>
                  <a:cubicBezTo>
                    <a:pt x="135" y="141"/>
                    <a:pt x="136" y="142"/>
                    <a:pt x="137" y="142"/>
                  </a:cubicBezTo>
                  <a:cubicBezTo>
                    <a:pt x="138" y="143"/>
                    <a:pt x="139" y="143"/>
                    <a:pt x="140" y="142"/>
                  </a:cubicBezTo>
                  <a:lnTo>
                    <a:pt x="194" y="126"/>
                  </a:lnTo>
                  <a:cubicBezTo>
                    <a:pt x="196" y="125"/>
                    <a:pt x="197" y="123"/>
                    <a:pt x="196" y="121"/>
                  </a:cubicBezTo>
                  <a:cubicBezTo>
                    <a:pt x="196" y="121"/>
                    <a:pt x="196" y="121"/>
                    <a:pt x="196" y="121"/>
                  </a:cubicBezTo>
                  <a:cubicBezTo>
                    <a:pt x="196" y="120"/>
                    <a:pt x="195" y="119"/>
                    <a:pt x="195" y="119"/>
                  </a:cubicBezTo>
                  <a:cubicBezTo>
                    <a:pt x="194" y="119"/>
                    <a:pt x="193" y="118"/>
                    <a:pt x="192" y="119"/>
                  </a:cubicBezTo>
                  <a:lnTo>
                    <a:pt x="148" y="132"/>
                  </a:lnTo>
                  <a:cubicBezTo>
                    <a:pt x="144" y="133"/>
                    <a:pt x="140" y="131"/>
                    <a:pt x="138" y="127"/>
                  </a:cubicBezTo>
                  <a:cubicBezTo>
                    <a:pt x="132" y="112"/>
                    <a:pt x="117" y="86"/>
                    <a:pt x="90" y="79"/>
                  </a:cubicBezTo>
                  <a:cubicBezTo>
                    <a:pt x="86" y="78"/>
                    <a:pt x="84" y="75"/>
                    <a:pt x="83" y="72"/>
                  </a:cubicBezTo>
                  <a:cubicBezTo>
                    <a:pt x="83" y="68"/>
                    <a:pt x="85" y="65"/>
                    <a:pt x="88" y="63"/>
                  </a:cubicBezTo>
                  <a:cubicBezTo>
                    <a:pt x="96" y="59"/>
                    <a:pt x="102" y="51"/>
                    <a:pt x="102" y="41"/>
                  </a:cubicBezTo>
                  <a:cubicBezTo>
                    <a:pt x="102" y="28"/>
                    <a:pt x="91" y="17"/>
                    <a:pt x="77" y="17"/>
                  </a:cubicBezTo>
                  <a:cubicBezTo>
                    <a:pt x="64" y="17"/>
                    <a:pt x="53" y="28"/>
                    <a:pt x="53" y="41"/>
                  </a:cubicBezTo>
                  <a:cubicBezTo>
                    <a:pt x="53" y="50"/>
                    <a:pt x="58" y="59"/>
                    <a:pt x="66" y="63"/>
                  </a:cubicBezTo>
                  <a:cubicBezTo>
                    <a:pt x="69" y="65"/>
                    <a:pt x="71" y="68"/>
                    <a:pt x="70" y="71"/>
                  </a:cubicBezTo>
                  <a:cubicBezTo>
                    <a:pt x="70" y="75"/>
                    <a:pt x="67" y="78"/>
                    <a:pt x="64" y="78"/>
                  </a:cubicBezTo>
                  <a:cubicBezTo>
                    <a:pt x="20" y="88"/>
                    <a:pt x="17" y="144"/>
                    <a:pt x="17" y="161"/>
                  </a:cubicBezTo>
                  <a:lnTo>
                    <a:pt x="17" y="211"/>
                  </a:lnTo>
                  <a:cubicBezTo>
                    <a:pt x="17" y="215"/>
                    <a:pt x="24" y="215"/>
                    <a:pt x="24" y="211"/>
                  </a:cubicBezTo>
                  <a:lnTo>
                    <a:pt x="24" y="161"/>
                  </a:lnTo>
                  <a:cubicBezTo>
                    <a:pt x="24" y="151"/>
                    <a:pt x="25" y="127"/>
                    <a:pt x="36" y="108"/>
                  </a:cubicBezTo>
                  <a:cubicBezTo>
                    <a:pt x="38" y="105"/>
                    <a:pt x="42" y="103"/>
                    <a:pt x="46" y="104"/>
                  </a:cubicBezTo>
                  <a:cubicBezTo>
                    <a:pt x="49" y="105"/>
                    <a:pt x="52" y="109"/>
                    <a:pt x="52" y="112"/>
                  </a:cubicBezTo>
                  <a:lnTo>
                    <a:pt x="52" y="347"/>
                  </a:lnTo>
                  <a:cubicBezTo>
                    <a:pt x="52" y="351"/>
                    <a:pt x="55" y="354"/>
                    <a:pt x="58" y="354"/>
                  </a:cubicBezTo>
                  <a:cubicBezTo>
                    <a:pt x="62" y="354"/>
                    <a:pt x="65" y="351"/>
                    <a:pt x="65" y="347"/>
                  </a:cubicBezTo>
                  <a:lnTo>
                    <a:pt x="65" y="206"/>
                  </a:lnTo>
                  <a:cubicBezTo>
                    <a:pt x="65" y="202"/>
                    <a:pt x="69" y="198"/>
                    <a:pt x="74" y="198"/>
                  </a:cubicBezTo>
                  <a:close/>
                  <a:moveTo>
                    <a:pt x="96" y="371"/>
                  </a:moveTo>
                  <a:cubicBezTo>
                    <a:pt x="88" y="371"/>
                    <a:pt x="81" y="367"/>
                    <a:pt x="77" y="361"/>
                  </a:cubicBezTo>
                  <a:cubicBezTo>
                    <a:pt x="73" y="367"/>
                    <a:pt x="66" y="371"/>
                    <a:pt x="58" y="371"/>
                  </a:cubicBezTo>
                  <a:cubicBezTo>
                    <a:pt x="46" y="371"/>
                    <a:pt x="35" y="360"/>
                    <a:pt x="35" y="347"/>
                  </a:cubicBezTo>
                  <a:lnTo>
                    <a:pt x="35" y="226"/>
                  </a:lnTo>
                  <a:cubicBezTo>
                    <a:pt x="31" y="229"/>
                    <a:pt x="26" y="232"/>
                    <a:pt x="21" y="232"/>
                  </a:cubicBezTo>
                  <a:cubicBezTo>
                    <a:pt x="9" y="232"/>
                    <a:pt x="0" y="222"/>
                    <a:pt x="0" y="211"/>
                  </a:cubicBezTo>
                  <a:lnTo>
                    <a:pt x="0" y="161"/>
                  </a:lnTo>
                  <a:cubicBezTo>
                    <a:pt x="0" y="124"/>
                    <a:pt x="12" y="83"/>
                    <a:pt x="45" y="67"/>
                  </a:cubicBezTo>
                  <a:cubicBezTo>
                    <a:pt x="39" y="60"/>
                    <a:pt x="36" y="51"/>
                    <a:pt x="36" y="41"/>
                  </a:cubicBezTo>
                  <a:cubicBezTo>
                    <a:pt x="36" y="19"/>
                    <a:pt x="55" y="0"/>
                    <a:pt x="77" y="0"/>
                  </a:cubicBezTo>
                  <a:cubicBezTo>
                    <a:pt x="100" y="0"/>
                    <a:pt x="118" y="19"/>
                    <a:pt x="118" y="41"/>
                  </a:cubicBezTo>
                  <a:cubicBezTo>
                    <a:pt x="118" y="52"/>
                    <a:pt x="115" y="61"/>
                    <a:pt x="108" y="68"/>
                  </a:cubicBezTo>
                  <a:cubicBezTo>
                    <a:pt x="130" y="79"/>
                    <a:pt x="143" y="99"/>
                    <a:pt x="150" y="114"/>
                  </a:cubicBezTo>
                  <a:lnTo>
                    <a:pt x="187" y="103"/>
                  </a:lnTo>
                  <a:cubicBezTo>
                    <a:pt x="192" y="101"/>
                    <a:pt x="198" y="102"/>
                    <a:pt x="203" y="104"/>
                  </a:cubicBezTo>
                  <a:cubicBezTo>
                    <a:pt x="207" y="107"/>
                    <a:pt x="211" y="111"/>
                    <a:pt x="212" y="116"/>
                  </a:cubicBezTo>
                  <a:cubicBezTo>
                    <a:pt x="216" y="127"/>
                    <a:pt x="210" y="139"/>
                    <a:pt x="199" y="142"/>
                  </a:cubicBezTo>
                  <a:lnTo>
                    <a:pt x="145" y="158"/>
                  </a:lnTo>
                  <a:cubicBezTo>
                    <a:pt x="140" y="160"/>
                    <a:pt x="134" y="159"/>
                    <a:pt x="129" y="157"/>
                  </a:cubicBezTo>
                  <a:cubicBezTo>
                    <a:pt x="124" y="154"/>
                    <a:pt x="121" y="150"/>
                    <a:pt x="119" y="145"/>
                  </a:cubicBezTo>
                  <a:cubicBezTo>
                    <a:pt x="119" y="145"/>
                    <a:pt x="119" y="145"/>
                    <a:pt x="119" y="145"/>
                  </a:cubicBezTo>
                  <a:lnTo>
                    <a:pt x="119" y="347"/>
                  </a:lnTo>
                  <a:cubicBezTo>
                    <a:pt x="119" y="360"/>
                    <a:pt x="109" y="371"/>
                    <a:pt x="96" y="3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07">
              <a:extLst>
                <a:ext uri="{FF2B5EF4-FFF2-40B4-BE49-F238E27FC236}">
                  <a16:creationId xmlns:a16="http://schemas.microsoft.com/office/drawing/2014/main" id="{661B22B9-50B2-40DC-993B-BB35674B7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388" y="3624263"/>
              <a:ext cx="9525" cy="115888"/>
            </a:xfrm>
            <a:custGeom>
              <a:avLst/>
              <a:gdLst>
                <a:gd name="T0" fmla="*/ 8 w 16"/>
                <a:gd name="T1" fmla="*/ 224 h 224"/>
                <a:gd name="T2" fmla="*/ 0 w 16"/>
                <a:gd name="T3" fmla="*/ 216 h 224"/>
                <a:gd name="T4" fmla="*/ 0 w 16"/>
                <a:gd name="T5" fmla="*/ 9 h 224"/>
                <a:gd name="T6" fmla="*/ 8 w 16"/>
                <a:gd name="T7" fmla="*/ 0 h 224"/>
                <a:gd name="T8" fmla="*/ 16 w 16"/>
                <a:gd name="T9" fmla="*/ 9 h 224"/>
                <a:gd name="T10" fmla="*/ 16 w 16"/>
                <a:gd name="T11" fmla="*/ 216 h 224"/>
                <a:gd name="T12" fmla="*/ 8 w 16"/>
                <a:gd name="T13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24">
                  <a:moveTo>
                    <a:pt x="8" y="224"/>
                  </a:moveTo>
                  <a:cubicBezTo>
                    <a:pt x="4" y="224"/>
                    <a:pt x="0" y="220"/>
                    <a:pt x="0" y="216"/>
                  </a:cubicBezTo>
                  <a:lnTo>
                    <a:pt x="0" y="9"/>
                  </a:ln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9"/>
                  </a:cubicBezTo>
                  <a:lnTo>
                    <a:pt x="16" y="216"/>
                  </a:lnTo>
                  <a:cubicBezTo>
                    <a:pt x="16" y="220"/>
                    <a:pt x="13" y="224"/>
                    <a:pt x="8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08">
              <a:extLst>
                <a:ext uri="{FF2B5EF4-FFF2-40B4-BE49-F238E27FC236}">
                  <a16:creationId xmlns:a16="http://schemas.microsoft.com/office/drawing/2014/main" id="{194376DC-6807-4129-83D4-531AE5D38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388" y="3529013"/>
              <a:ext cx="9525" cy="90488"/>
            </a:xfrm>
            <a:custGeom>
              <a:avLst/>
              <a:gdLst>
                <a:gd name="T0" fmla="*/ 8 w 16"/>
                <a:gd name="T1" fmla="*/ 174 h 174"/>
                <a:gd name="T2" fmla="*/ 0 w 16"/>
                <a:gd name="T3" fmla="*/ 166 h 174"/>
                <a:gd name="T4" fmla="*/ 0 w 16"/>
                <a:gd name="T5" fmla="*/ 8 h 174"/>
                <a:gd name="T6" fmla="*/ 8 w 16"/>
                <a:gd name="T7" fmla="*/ 0 h 174"/>
                <a:gd name="T8" fmla="*/ 16 w 16"/>
                <a:gd name="T9" fmla="*/ 8 h 174"/>
                <a:gd name="T10" fmla="*/ 16 w 16"/>
                <a:gd name="T11" fmla="*/ 166 h 174"/>
                <a:gd name="T12" fmla="*/ 8 w 16"/>
                <a:gd name="T1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74">
                  <a:moveTo>
                    <a:pt x="8" y="174"/>
                  </a:moveTo>
                  <a:cubicBezTo>
                    <a:pt x="4" y="174"/>
                    <a:pt x="0" y="170"/>
                    <a:pt x="0" y="166"/>
                  </a:cubicBezTo>
                  <a:lnTo>
                    <a:pt x="0" y="8"/>
                  </a:ln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lnTo>
                    <a:pt x="16" y="166"/>
                  </a:lnTo>
                  <a:cubicBezTo>
                    <a:pt x="16" y="170"/>
                    <a:pt x="13" y="174"/>
                    <a:pt x="8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09">
              <a:extLst>
                <a:ext uri="{FF2B5EF4-FFF2-40B4-BE49-F238E27FC236}">
                  <a16:creationId xmlns:a16="http://schemas.microsoft.com/office/drawing/2014/main" id="{DFE3D227-4842-4F77-B05A-E1E7F6E4B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2388" y="3530600"/>
              <a:ext cx="92075" cy="84138"/>
            </a:xfrm>
            <a:custGeom>
              <a:avLst/>
              <a:gdLst>
                <a:gd name="T0" fmla="*/ 16 w 169"/>
                <a:gd name="T1" fmla="*/ 106 h 162"/>
                <a:gd name="T2" fmla="*/ 78 w 169"/>
                <a:gd name="T3" fmla="*/ 143 h 162"/>
                <a:gd name="T4" fmla="*/ 153 w 169"/>
                <a:gd name="T5" fmla="*/ 143 h 162"/>
                <a:gd name="T6" fmla="*/ 153 w 169"/>
                <a:gd name="T7" fmla="*/ 69 h 162"/>
                <a:gd name="T8" fmla="*/ 91 w 169"/>
                <a:gd name="T9" fmla="*/ 73 h 162"/>
                <a:gd name="T10" fmla="*/ 16 w 169"/>
                <a:gd name="T11" fmla="*/ 29 h 162"/>
                <a:gd name="T12" fmla="*/ 16 w 169"/>
                <a:gd name="T13" fmla="*/ 106 h 162"/>
                <a:gd name="T14" fmla="*/ 115 w 169"/>
                <a:gd name="T15" fmla="*/ 162 h 162"/>
                <a:gd name="T16" fmla="*/ 75 w 169"/>
                <a:gd name="T17" fmla="*/ 159 h 162"/>
                <a:gd name="T18" fmla="*/ 1 w 169"/>
                <a:gd name="T19" fmla="*/ 114 h 162"/>
                <a:gd name="T20" fmla="*/ 0 w 169"/>
                <a:gd name="T21" fmla="*/ 109 h 162"/>
                <a:gd name="T22" fmla="*/ 0 w 169"/>
                <a:gd name="T23" fmla="*/ 9 h 162"/>
                <a:gd name="T24" fmla="*/ 5 w 169"/>
                <a:gd name="T25" fmla="*/ 1 h 162"/>
                <a:gd name="T26" fmla="*/ 14 w 169"/>
                <a:gd name="T27" fmla="*/ 3 h 162"/>
                <a:gd name="T28" fmla="*/ 93 w 169"/>
                <a:gd name="T29" fmla="*/ 57 h 162"/>
                <a:gd name="T30" fmla="*/ 158 w 169"/>
                <a:gd name="T31" fmla="*/ 50 h 162"/>
                <a:gd name="T32" fmla="*/ 166 w 169"/>
                <a:gd name="T33" fmla="*/ 51 h 162"/>
                <a:gd name="T34" fmla="*/ 169 w 169"/>
                <a:gd name="T35" fmla="*/ 58 h 162"/>
                <a:gd name="T36" fmla="*/ 169 w 169"/>
                <a:gd name="T37" fmla="*/ 151 h 162"/>
                <a:gd name="T38" fmla="*/ 162 w 169"/>
                <a:gd name="T39" fmla="*/ 159 h 162"/>
                <a:gd name="T40" fmla="*/ 115 w 169"/>
                <a:gd name="T41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2">
                  <a:moveTo>
                    <a:pt x="16" y="106"/>
                  </a:moveTo>
                  <a:cubicBezTo>
                    <a:pt x="22" y="113"/>
                    <a:pt x="43" y="136"/>
                    <a:pt x="78" y="143"/>
                  </a:cubicBezTo>
                  <a:cubicBezTo>
                    <a:pt x="105" y="148"/>
                    <a:pt x="138" y="145"/>
                    <a:pt x="153" y="143"/>
                  </a:cubicBezTo>
                  <a:lnTo>
                    <a:pt x="153" y="69"/>
                  </a:lnTo>
                  <a:cubicBezTo>
                    <a:pt x="140" y="73"/>
                    <a:pt x="118" y="77"/>
                    <a:pt x="91" y="73"/>
                  </a:cubicBezTo>
                  <a:cubicBezTo>
                    <a:pt x="63" y="70"/>
                    <a:pt x="34" y="46"/>
                    <a:pt x="16" y="29"/>
                  </a:cubicBezTo>
                  <a:lnTo>
                    <a:pt x="16" y="106"/>
                  </a:lnTo>
                  <a:close/>
                  <a:moveTo>
                    <a:pt x="115" y="162"/>
                  </a:moveTo>
                  <a:cubicBezTo>
                    <a:pt x="102" y="162"/>
                    <a:pt x="88" y="162"/>
                    <a:pt x="75" y="159"/>
                  </a:cubicBezTo>
                  <a:cubicBezTo>
                    <a:pt x="27" y="149"/>
                    <a:pt x="2" y="116"/>
                    <a:pt x="1" y="114"/>
                  </a:cubicBezTo>
                  <a:cubicBezTo>
                    <a:pt x="0" y="113"/>
                    <a:pt x="0" y="111"/>
                    <a:pt x="0" y="109"/>
                  </a:cubicBezTo>
                  <a:lnTo>
                    <a:pt x="0" y="9"/>
                  </a:lnTo>
                  <a:cubicBezTo>
                    <a:pt x="0" y="6"/>
                    <a:pt x="2" y="2"/>
                    <a:pt x="5" y="1"/>
                  </a:cubicBezTo>
                  <a:cubicBezTo>
                    <a:pt x="8" y="0"/>
                    <a:pt x="12" y="1"/>
                    <a:pt x="14" y="3"/>
                  </a:cubicBezTo>
                  <a:cubicBezTo>
                    <a:pt x="15" y="4"/>
                    <a:pt x="58" y="52"/>
                    <a:pt x="93" y="57"/>
                  </a:cubicBezTo>
                  <a:cubicBezTo>
                    <a:pt x="130" y="61"/>
                    <a:pt x="157" y="50"/>
                    <a:pt x="158" y="50"/>
                  </a:cubicBezTo>
                  <a:cubicBezTo>
                    <a:pt x="160" y="49"/>
                    <a:pt x="163" y="49"/>
                    <a:pt x="166" y="51"/>
                  </a:cubicBezTo>
                  <a:cubicBezTo>
                    <a:pt x="168" y="52"/>
                    <a:pt x="169" y="55"/>
                    <a:pt x="169" y="58"/>
                  </a:cubicBezTo>
                  <a:lnTo>
                    <a:pt x="169" y="151"/>
                  </a:lnTo>
                  <a:cubicBezTo>
                    <a:pt x="169" y="155"/>
                    <a:pt x="166" y="158"/>
                    <a:pt x="162" y="159"/>
                  </a:cubicBezTo>
                  <a:cubicBezTo>
                    <a:pt x="161" y="159"/>
                    <a:pt x="140" y="162"/>
                    <a:pt x="115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Oval 17"/>
          <p:cNvSpPr/>
          <p:nvPr/>
        </p:nvSpPr>
        <p:spPr>
          <a:xfrm>
            <a:off x="8956592" y="1894006"/>
            <a:ext cx="1280433" cy="1280433"/>
          </a:xfrm>
          <a:prstGeom prst="ellipse">
            <a:avLst/>
          </a:prstGeom>
          <a:solidFill>
            <a:srgbClr val="009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156929" y="2059310"/>
            <a:ext cx="871363" cy="819134"/>
            <a:chOff x="6191251" y="4982051"/>
            <a:chExt cx="322263" cy="302947"/>
          </a:xfrm>
          <a:solidFill>
            <a:srgbClr val="FFFFFF"/>
          </a:solidFill>
        </p:grpSpPr>
        <p:sp>
          <p:nvSpPr>
            <p:cNvPr id="20" name="Freeform 557">
              <a:extLst>
                <a:ext uri="{FF2B5EF4-FFF2-40B4-BE49-F238E27FC236}">
                  <a16:creationId xmlns:a16="http://schemas.microsoft.com/office/drawing/2014/main" id="{ACE8405B-C5EE-4214-A897-BCB6F31DC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5076" y="4982051"/>
              <a:ext cx="133350" cy="211244"/>
            </a:xfrm>
            <a:custGeom>
              <a:avLst/>
              <a:gdLst>
                <a:gd name="T0" fmla="*/ 124 w 247"/>
                <a:gd name="T1" fmla="*/ 21 h 396"/>
                <a:gd name="T2" fmla="*/ 22 w 247"/>
                <a:gd name="T3" fmla="*/ 123 h 396"/>
                <a:gd name="T4" fmla="*/ 124 w 247"/>
                <a:gd name="T5" fmla="*/ 362 h 396"/>
                <a:gd name="T6" fmla="*/ 225 w 247"/>
                <a:gd name="T7" fmla="*/ 123 h 396"/>
                <a:gd name="T8" fmla="*/ 124 w 247"/>
                <a:gd name="T9" fmla="*/ 21 h 396"/>
                <a:gd name="T10" fmla="*/ 124 w 247"/>
                <a:gd name="T11" fmla="*/ 396 h 396"/>
                <a:gd name="T12" fmla="*/ 114 w 247"/>
                <a:gd name="T13" fmla="*/ 390 h 396"/>
                <a:gd name="T14" fmla="*/ 0 w 247"/>
                <a:gd name="T15" fmla="*/ 123 h 396"/>
                <a:gd name="T16" fmla="*/ 124 w 247"/>
                <a:gd name="T17" fmla="*/ 0 h 396"/>
                <a:gd name="T18" fmla="*/ 247 w 247"/>
                <a:gd name="T19" fmla="*/ 123 h 396"/>
                <a:gd name="T20" fmla="*/ 133 w 247"/>
                <a:gd name="T21" fmla="*/ 390 h 396"/>
                <a:gd name="T22" fmla="*/ 124 w 247"/>
                <a:gd name="T23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396">
                  <a:moveTo>
                    <a:pt x="124" y="21"/>
                  </a:moveTo>
                  <a:cubicBezTo>
                    <a:pt x="67" y="21"/>
                    <a:pt x="22" y="67"/>
                    <a:pt x="22" y="123"/>
                  </a:cubicBezTo>
                  <a:cubicBezTo>
                    <a:pt x="22" y="167"/>
                    <a:pt x="88" y="298"/>
                    <a:pt x="124" y="362"/>
                  </a:cubicBezTo>
                  <a:cubicBezTo>
                    <a:pt x="159" y="298"/>
                    <a:pt x="225" y="167"/>
                    <a:pt x="225" y="123"/>
                  </a:cubicBezTo>
                  <a:cubicBezTo>
                    <a:pt x="225" y="67"/>
                    <a:pt x="180" y="21"/>
                    <a:pt x="124" y="21"/>
                  </a:cubicBezTo>
                  <a:close/>
                  <a:moveTo>
                    <a:pt x="124" y="396"/>
                  </a:moveTo>
                  <a:cubicBezTo>
                    <a:pt x="120" y="396"/>
                    <a:pt x="116" y="393"/>
                    <a:pt x="114" y="390"/>
                  </a:cubicBezTo>
                  <a:cubicBezTo>
                    <a:pt x="110" y="382"/>
                    <a:pt x="0" y="187"/>
                    <a:pt x="0" y="123"/>
                  </a:cubicBezTo>
                  <a:cubicBezTo>
                    <a:pt x="0" y="55"/>
                    <a:pt x="55" y="0"/>
                    <a:pt x="124" y="0"/>
                  </a:cubicBezTo>
                  <a:cubicBezTo>
                    <a:pt x="192" y="0"/>
                    <a:pt x="247" y="55"/>
                    <a:pt x="247" y="123"/>
                  </a:cubicBezTo>
                  <a:cubicBezTo>
                    <a:pt x="247" y="187"/>
                    <a:pt x="138" y="382"/>
                    <a:pt x="133" y="390"/>
                  </a:cubicBezTo>
                  <a:cubicBezTo>
                    <a:pt x="131" y="393"/>
                    <a:pt x="128" y="396"/>
                    <a:pt x="124" y="3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58">
              <a:extLst>
                <a:ext uri="{FF2B5EF4-FFF2-40B4-BE49-F238E27FC236}">
                  <a16:creationId xmlns:a16="http://schemas.microsoft.com/office/drawing/2014/main" id="{19B7AFEB-DF3D-45C6-922E-AD74A2CE6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2063" y="5008252"/>
              <a:ext cx="79375" cy="78602"/>
            </a:xfrm>
            <a:custGeom>
              <a:avLst/>
              <a:gdLst>
                <a:gd name="T0" fmla="*/ 73 w 145"/>
                <a:gd name="T1" fmla="*/ 17 h 144"/>
                <a:gd name="T2" fmla="*/ 17 w 145"/>
                <a:gd name="T3" fmla="*/ 72 h 144"/>
                <a:gd name="T4" fmla="*/ 73 w 145"/>
                <a:gd name="T5" fmla="*/ 128 h 144"/>
                <a:gd name="T6" fmla="*/ 128 w 145"/>
                <a:gd name="T7" fmla="*/ 72 h 144"/>
                <a:gd name="T8" fmla="*/ 73 w 145"/>
                <a:gd name="T9" fmla="*/ 17 h 144"/>
                <a:gd name="T10" fmla="*/ 73 w 145"/>
                <a:gd name="T11" fmla="*/ 144 h 144"/>
                <a:gd name="T12" fmla="*/ 0 w 145"/>
                <a:gd name="T13" fmla="*/ 72 h 144"/>
                <a:gd name="T14" fmla="*/ 73 w 145"/>
                <a:gd name="T15" fmla="*/ 0 h 144"/>
                <a:gd name="T16" fmla="*/ 145 w 145"/>
                <a:gd name="T17" fmla="*/ 72 h 144"/>
                <a:gd name="T18" fmla="*/ 73 w 14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4">
                  <a:moveTo>
                    <a:pt x="73" y="17"/>
                  </a:moveTo>
                  <a:cubicBezTo>
                    <a:pt x="42" y="17"/>
                    <a:pt x="17" y="42"/>
                    <a:pt x="17" y="72"/>
                  </a:cubicBezTo>
                  <a:cubicBezTo>
                    <a:pt x="17" y="103"/>
                    <a:pt x="42" y="128"/>
                    <a:pt x="73" y="128"/>
                  </a:cubicBezTo>
                  <a:cubicBezTo>
                    <a:pt x="103" y="128"/>
                    <a:pt x="128" y="103"/>
                    <a:pt x="128" y="72"/>
                  </a:cubicBezTo>
                  <a:cubicBezTo>
                    <a:pt x="128" y="42"/>
                    <a:pt x="103" y="17"/>
                    <a:pt x="73" y="17"/>
                  </a:cubicBezTo>
                  <a:close/>
                  <a:moveTo>
                    <a:pt x="73" y="144"/>
                  </a:moveTo>
                  <a:cubicBezTo>
                    <a:pt x="33" y="144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cubicBezTo>
                    <a:pt x="112" y="0"/>
                    <a:pt x="145" y="32"/>
                    <a:pt x="145" y="72"/>
                  </a:cubicBezTo>
                  <a:cubicBezTo>
                    <a:pt x="145" y="112"/>
                    <a:pt x="112" y="144"/>
                    <a:pt x="73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59">
              <a:extLst>
                <a:ext uri="{FF2B5EF4-FFF2-40B4-BE49-F238E27FC236}">
                  <a16:creationId xmlns:a16="http://schemas.microsoft.com/office/drawing/2014/main" id="{B83BB2F6-47F2-436F-A7E9-18505C348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8413" y="5165457"/>
              <a:ext cx="65088" cy="44214"/>
            </a:xfrm>
            <a:custGeom>
              <a:avLst/>
              <a:gdLst>
                <a:gd name="T0" fmla="*/ 60 w 120"/>
                <a:gd name="T1" fmla="*/ 83 h 83"/>
                <a:gd name="T2" fmla="*/ 0 w 120"/>
                <a:gd name="T3" fmla="*/ 41 h 83"/>
                <a:gd name="T4" fmla="*/ 39 w 120"/>
                <a:gd name="T5" fmla="*/ 2 h 83"/>
                <a:gd name="T6" fmla="*/ 49 w 120"/>
                <a:gd name="T7" fmla="*/ 8 h 83"/>
                <a:gd name="T8" fmla="*/ 43 w 120"/>
                <a:gd name="T9" fmla="*/ 18 h 83"/>
                <a:gd name="T10" fmla="*/ 17 w 120"/>
                <a:gd name="T11" fmla="*/ 41 h 83"/>
                <a:gd name="T12" fmla="*/ 60 w 120"/>
                <a:gd name="T13" fmla="*/ 66 h 83"/>
                <a:gd name="T14" fmla="*/ 103 w 120"/>
                <a:gd name="T15" fmla="*/ 41 h 83"/>
                <a:gd name="T16" fmla="*/ 76 w 120"/>
                <a:gd name="T17" fmla="*/ 18 h 83"/>
                <a:gd name="T18" fmla="*/ 70 w 120"/>
                <a:gd name="T19" fmla="*/ 8 h 83"/>
                <a:gd name="T20" fmla="*/ 80 w 120"/>
                <a:gd name="T21" fmla="*/ 1 h 83"/>
                <a:gd name="T22" fmla="*/ 120 w 120"/>
                <a:gd name="T23" fmla="*/ 41 h 83"/>
                <a:gd name="T24" fmla="*/ 60 w 120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83">
                  <a:moveTo>
                    <a:pt x="60" y="83"/>
                  </a:moveTo>
                  <a:cubicBezTo>
                    <a:pt x="26" y="83"/>
                    <a:pt x="0" y="64"/>
                    <a:pt x="0" y="41"/>
                  </a:cubicBezTo>
                  <a:cubicBezTo>
                    <a:pt x="0" y="23"/>
                    <a:pt x="15" y="8"/>
                    <a:pt x="39" y="2"/>
                  </a:cubicBezTo>
                  <a:cubicBezTo>
                    <a:pt x="43" y="0"/>
                    <a:pt x="48" y="3"/>
                    <a:pt x="49" y="8"/>
                  </a:cubicBezTo>
                  <a:cubicBezTo>
                    <a:pt x="50" y="12"/>
                    <a:pt x="47" y="17"/>
                    <a:pt x="43" y="18"/>
                  </a:cubicBezTo>
                  <a:cubicBezTo>
                    <a:pt x="27" y="22"/>
                    <a:pt x="17" y="31"/>
                    <a:pt x="17" y="41"/>
                  </a:cubicBezTo>
                  <a:cubicBezTo>
                    <a:pt x="17" y="55"/>
                    <a:pt x="36" y="66"/>
                    <a:pt x="60" y="66"/>
                  </a:cubicBezTo>
                  <a:cubicBezTo>
                    <a:pt x="83" y="66"/>
                    <a:pt x="103" y="55"/>
                    <a:pt x="103" y="41"/>
                  </a:cubicBezTo>
                  <a:cubicBezTo>
                    <a:pt x="103" y="31"/>
                    <a:pt x="92" y="22"/>
                    <a:pt x="76" y="18"/>
                  </a:cubicBezTo>
                  <a:cubicBezTo>
                    <a:pt x="72" y="17"/>
                    <a:pt x="69" y="12"/>
                    <a:pt x="70" y="8"/>
                  </a:cubicBezTo>
                  <a:cubicBezTo>
                    <a:pt x="71" y="3"/>
                    <a:pt x="76" y="0"/>
                    <a:pt x="80" y="1"/>
                  </a:cubicBezTo>
                  <a:cubicBezTo>
                    <a:pt x="104" y="7"/>
                    <a:pt x="120" y="23"/>
                    <a:pt x="120" y="41"/>
                  </a:cubicBezTo>
                  <a:cubicBezTo>
                    <a:pt x="120" y="64"/>
                    <a:pt x="93" y="83"/>
                    <a:pt x="60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60">
              <a:extLst>
                <a:ext uri="{FF2B5EF4-FFF2-40B4-BE49-F238E27FC236}">
                  <a16:creationId xmlns:a16="http://schemas.microsoft.com/office/drawing/2014/main" id="{9A150D2A-D02C-477A-AFED-FC8414E8C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6" y="5183469"/>
              <a:ext cx="138113" cy="8188"/>
            </a:xfrm>
            <a:custGeom>
              <a:avLst/>
              <a:gdLst>
                <a:gd name="T0" fmla="*/ 247 w 256"/>
                <a:gd name="T1" fmla="*/ 16 h 16"/>
                <a:gd name="T2" fmla="*/ 8 w 256"/>
                <a:gd name="T3" fmla="*/ 16 h 16"/>
                <a:gd name="T4" fmla="*/ 0 w 256"/>
                <a:gd name="T5" fmla="*/ 8 h 16"/>
                <a:gd name="T6" fmla="*/ 8 w 256"/>
                <a:gd name="T7" fmla="*/ 0 h 16"/>
                <a:gd name="T8" fmla="*/ 247 w 256"/>
                <a:gd name="T9" fmla="*/ 0 h 16"/>
                <a:gd name="T10" fmla="*/ 256 w 256"/>
                <a:gd name="T11" fmla="*/ 8 h 16"/>
                <a:gd name="T12" fmla="*/ 247 w 256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16">
                  <a:moveTo>
                    <a:pt x="247" y="16"/>
                  </a:moveTo>
                  <a:lnTo>
                    <a:pt x="8" y="16"/>
                  </a:lnTo>
                  <a:cubicBezTo>
                    <a:pt x="3" y="16"/>
                    <a:pt x="0" y="13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lnTo>
                    <a:pt x="247" y="0"/>
                  </a:lnTo>
                  <a:cubicBezTo>
                    <a:pt x="252" y="0"/>
                    <a:pt x="256" y="3"/>
                    <a:pt x="256" y="8"/>
                  </a:cubicBezTo>
                  <a:cubicBezTo>
                    <a:pt x="256" y="13"/>
                    <a:pt x="252" y="16"/>
                    <a:pt x="24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61">
              <a:extLst>
                <a:ext uri="{FF2B5EF4-FFF2-40B4-BE49-F238E27FC236}">
                  <a16:creationId xmlns:a16="http://schemas.microsoft.com/office/drawing/2014/main" id="{4554FAFE-DF9A-4EEA-935E-4559BD31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251" y="5109780"/>
              <a:ext cx="322263" cy="175218"/>
            </a:xfrm>
            <a:custGeom>
              <a:avLst/>
              <a:gdLst>
                <a:gd name="T0" fmla="*/ 583 w 595"/>
                <a:gd name="T1" fmla="*/ 327 h 327"/>
                <a:gd name="T2" fmla="*/ 11 w 595"/>
                <a:gd name="T3" fmla="*/ 327 h 327"/>
                <a:gd name="T4" fmla="*/ 3 w 595"/>
                <a:gd name="T5" fmla="*/ 323 h 327"/>
                <a:gd name="T6" fmla="*/ 1 w 595"/>
                <a:gd name="T7" fmla="*/ 313 h 327"/>
                <a:gd name="T8" fmla="*/ 84 w 595"/>
                <a:gd name="T9" fmla="*/ 8 h 327"/>
                <a:gd name="T10" fmla="*/ 95 w 595"/>
                <a:gd name="T11" fmla="*/ 0 h 327"/>
                <a:gd name="T12" fmla="*/ 283 w 595"/>
                <a:gd name="T13" fmla="*/ 0 h 327"/>
                <a:gd name="T14" fmla="*/ 294 w 595"/>
                <a:gd name="T15" fmla="*/ 10 h 327"/>
                <a:gd name="T16" fmla="*/ 283 w 595"/>
                <a:gd name="T17" fmla="*/ 21 h 327"/>
                <a:gd name="T18" fmla="*/ 103 w 595"/>
                <a:gd name="T19" fmla="*/ 21 h 327"/>
                <a:gd name="T20" fmla="*/ 25 w 595"/>
                <a:gd name="T21" fmla="*/ 305 h 327"/>
                <a:gd name="T22" fmla="*/ 569 w 595"/>
                <a:gd name="T23" fmla="*/ 305 h 327"/>
                <a:gd name="T24" fmla="*/ 492 w 595"/>
                <a:gd name="T25" fmla="*/ 21 h 327"/>
                <a:gd name="T26" fmla="*/ 423 w 595"/>
                <a:gd name="T27" fmla="*/ 21 h 327"/>
                <a:gd name="T28" fmla="*/ 413 w 595"/>
                <a:gd name="T29" fmla="*/ 10 h 327"/>
                <a:gd name="T30" fmla="*/ 423 w 595"/>
                <a:gd name="T31" fmla="*/ 0 h 327"/>
                <a:gd name="T32" fmla="*/ 500 w 595"/>
                <a:gd name="T33" fmla="*/ 0 h 327"/>
                <a:gd name="T34" fmla="*/ 511 w 595"/>
                <a:gd name="T35" fmla="*/ 8 h 327"/>
                <a:gd name="T36" fmla="*/ 594 w 595"/>
                <a:gd name="T37" fmla="*/ 313 h 327"/>
                <a:gd name="T38" fmla="*/ 592 w 595"/>
                <a:gd name="T39" fmla="*/ 323 h 327"/>
                <a:gd name="T40" fmla="*/ 583 w 595"/>
                <a:gd name="T41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327">
                  <a:moveTo>
                    <a:pt x="583" y="327"/>
                  </a:moveTo>
                  <a:lnTo>
                    <a:pt x="11" y="327"/>
                  </a:lnTo>
                  <a:cubicBezTo>
                    <a:pt x="8" y="327"/>
                    <a:pt x="5" y="325"/>
                    <a:pt x="3" y="323"/>
                  </a:cubicBezTo>
                  <a:cubicBezTo>
                    <a:pt x="1" y="320"/>
                    <a:pt x="0" y="316"/>
                    <a:pt x="1" y="313"/>
                  </a:cubicBezTo>
                  <a:lnTo>
                    <a:pt x="84" y="8"/>
                  </a:lnTo>
                  <a:cubicBezTo>
                    <a:pt x="85" y="3"/>
                    <a:pt x="90" y="0"/>
                    <a:pt x="95" y="0"/>
                  </a:cubicBezTo>
                  <a:lnTo>
                    <a:pt x="283" y="0"/>
                  </a:lnTo>
                  <a:cubicBezTo>
                    <a:pt x="289" y="0"/>
                    <a:pt x="294" y="4"/>
                    <a:pt x="294" y="10"/>
                  </a:cubicBezTo>
                  <a:cubicBezTo>
                    <a:pt x="294" y="16"/>
                    <a:pt x="289" y="21"/>
                    <a:pt x="283" y="21"/>
                  </a:cubicBezTo>
                  <a:lnTo>
                    <a:pt x="103" y="21"/>
                  </a:lnTo>
                  <a:lnTo>
                    <a:pt x="25" y="305"/>
                  </a:lnTo>
                  <a:lnTo>
                    <a:pt x="569" y="305"/>
                  </a:lnTo>
                  <a:lnTo>
                    <a:pt x="492" y="21"/>
                  </a:lnTo>
                  <a:lnTo>
                    <a:pt x="423" y="21"/>
                  </a:lnTo>
                  <a:cubicBezTo>
                    <a:pt x="417" y="21"/>
                    <a:pt x="413" y="16"/>
                    <a:pt x="413" y="10"/>
                  </a:cubicBezTo>
                  <a:cubicBezTo>
                    <a:pt x="413" y="4"/>
                    <a:pt x="417" y="0"/>
                    <a:pt x="423" y="0"/>
                  </a:cubicBezTo>
                  <a:lnTo>
                    <a:pt x="500" y="0"/>
                  </a:lnTo>
                  <a:cubicBezTo>
                    <a:pt x="505" y="0"/>
                    <a:pt x="509" y="3"/>
                    <a:pt x="511" y="8"/>
                  </a:cubicBezTo>
                  <a:lnTo>
                    <a:pt x="594" y="313"/>
                  </a:lnTo>
                  <a:cubicBezTo>
                    <a:pt x="595" y="316"/>
                    <a:pt x="594" y="320"/>
                    <a:pt x="592" y="323"/>
                  </a:cubicBezTo>
                  <a:cubicBezTo>
                    <a:pt x="590" y="325"/>
                    <a:pt x="587" y="327"/>
                    <a:pt x="583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562">
              <a:extLst>
                <a:ext uri="{FF2B5EF4-FFF2-40B4-BE49-F238E27FC236}">
                  <a16:creationId xmlns:a16="http://schemas.microsoft.com/office/drawing/2014/main" id="{0D911873-38DC-440B-A2BC-9CF76F6BA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6" y="5113055"/>
              <a:ext cx="123825" cy="170305"/>
            </a:xfrm>
            <a:custGeom>
              <a:avLst/>
              <a:gdLst>
                <a:gd name="T0" fmla="*/ 218 w 228"/>
                <a:gd name="T1" fmla="*/ 319 h 319"/>
                <a:gd name="T2" fmla="*/ 216 w 228"/>
                <a:gd name="T3" fmla="*/ 319 h 319"/>
                <a:gd name="T4" fmla="*/ 42 w 228"/>
                <a:gd name="T5" fmla="*/ 196 h 319"/>
                <a:gd name="T6" fmla="*/ 30 w 228"/>
                <a:gd name="T7" fmla="*/ 7 h 319"/>
                <a:gd name="T8" fmla="*/ 40 w 228"/>
                <a:gd name="T9" fmla="*/ 1 h 319"/>
                <a:gd name="T10" fmla="*/ 46 w 228"/>
                <a:gd name="T11" fmla="*/ 11 h 319"/>
                <a:gd name="T12" fmla="*/ 57 w 228"/>
                <a:gd name="T13" fmla="*/ 188 h 319"/>
                <a:gd name="T14" fmla="*/ 221 w 228"/>
                <a:gd name="T15" fmla="*/ 303 h 319"/>
                <a:gd name="T16" fmla="*/ 227 w 228"/>
                <a:gd name="T17" fmla="*/ 313 h 319"/>
                <a:gd name="T18" fmla="*/ 218 w 228"/>
                <a:gd name="T19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319">
                  <a:moveTo>
                    <a:pt x="218" y="319"/>
                  </a:moveTo>
                  <a:cubicBezTo>
                    <a:pt x="218" y="319"/>
                    <a:pt x="217" y="319"/>
                    <a:pt x="216" y="319"/>
                  </a:cubicBezTo>
                  <a:cubicBezTo>
                    <a:pt x="211" y="317"/>
                    <a:pt x="87" y="283"/>
                    <a:pt x="42" y="196"/>
                  </a:cubicBezTo>
                  <a:cubicBezTo>
                    <a:pt x="0" y="114"/>
                    <a:pt x="29" y="11"/>
                    <a:pt x="30" y="7"/>
                  </a:cubicBezTo>
                  <a:cubicBezTo>
                    <a:pt x="31" y="3"/>
                    <a:pt x="36" y="0"/>
                    <a:pt x="40" y="1"/>
                  </a:cubicBezTo>
                  <a:cubicBezTo>
                    <a:pt x="45" y="2"/>
                    <a:pt x="47" y="7"/>
                    <a:pt x="46" y="11"/>
                  </a:cubicBezTo>
                  <a:cubicBezTo>
                    <a:pt x="46" y="12"/>
                    <a:pt x="18" y="112"/>
                    <a:pt x="57" y="188"/>
                  </a:cubicBezTo>
                  <a:cubicBezTo>
                    <a:pt x="99" y="269"/>
                    <a:pt x="219" y="302"/>
                    <a:pt x="221" y="303"/>
                  </a:cubicBezTo>
                  <a:cubicBezTo>
                    <a:pt x="225" y="304"/>
                    <a:pt x="228" y="308"/>
                    <a:pt x="227" y="313"/>
                  </a:cubicBezTo>
                  <a:cubicBezTo>
                    <a:pt x="226" y="317"/>
                    <a:pt x="222" y="319"/>
                    <a:pt x="218" y="3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Oval 9"/>
          <p:cNvSpPr/>
          <p:nvPr/>
        </p:nvSpPr>
        <p:spPr>
          <a:xfrm>
            <a:off x="10405738" y="1892135"/>
            <a:ext cx="1280434" cy="1280433"/>
          </a:xfrm>
          <a:prstGeom prst="ellipse">
            <a:avLst/>
          </a:prstGeom>
          <a:solidFill>
            <a:srgbClr val="009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0635144" y="2044424"/>
            <a:ext cx="828352" cy="963220"/>
            <a:chOff x="4659314" y="1076325"/>
            <a:chExt cx="349250" cy="393701"/>
          </a:xfrm>
          <a:solidFill>
            <a:srgbClr val="FFFFFF"/>
          </a:solidFill>
        </p:grpSpPr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id="{B0BEB03E-8983-4F8F-8196-C052875EB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176" y="1308100"/>
              <a:ext cx="11113" cy="155575"/>
            </a:xfrm>
            <a:custGeom>
              <a:avLst/>
              <a:gdLst>
                <a:gd name="T0" fmla="*/ 10 w 21"/>
                <a:gd name="T1" fmla="*/ 300 h 300"/>
                <a:gd name="T2" fmla="*/ 0 w 21"/>
                <a:gd name="T3" fmla="*/ 289 h 300"/>
                <a:gd name="T4" fmla="*/ 0 w 21"/>
                <a:gd name="T5" fmla="*/ 11 h 300"/>
                <a:gd name="T6" fmla="*/ 10 w 21"/>
                <a:gd name="T7" fmla="*/ 0 h 300"/>
                <a:gd name="T8" fmla="*/ 21 w 21"/>
                <a:gd name="T9" fmla="*/ 11 h 300"/>
                <a:gd name="T10" fmla="*/ 21 w 21"/>
                <a:gd name="T11" fmla="*/ 289 h 300"/>
                <a:gd name="T12" fmla="*/ 10 w 21"/>
                <a:gd name="T1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00">
                  <a:moveTo>
                    <a:pt x="10" y="300"/>
                  </a:moveTo>
                  <a:cubicBezTo>
                    <a:pt x="4" y="300"/>
                    <a:pt x="0" y="295"/>
                    <a:pt x="0" y="289"/>
                  </a:cubicBezTo>
                  <a:lnTo>
                    <a:pt x="0" y="11"/>
                  </a:ln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1" y="5"/>
                    <a:pt x="21" y="11"/>
                  </a:cubicBezTo>
                  <a:lnTo>
                    <a:pt x="21" y="289"/>
                  </a:lnTo>
                  <a:cubicBezTo>
                    <a:pt x="21" y="295"/>
                    <a:pt x="16" y="300"/>
                    <a:pt x="10" y="3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3D26D177-847F-402C-9630-1D8949B73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176" y="1193800"/>
              <a:ext cx="11113" cy="65088"/>
            </a:xfrm>
            <a:custGeom>
              <a:avLst/>
              <a:gdLst>
                <a:gd name="T0" fmla="*/ 10 w 21"/>
                <a:gd name="T1" fmla="*/ 124 h 124"/>
                <a:gd name="T2" fmla="*/ 0 w 21"/>
                <a:gd name="T3" fmla="*/ 113 h 124"/>
                <a:gd name="T4" fmla="*/ 0 w 21"/>
                <a:gd name="T5" fmla="*/ 10 h 124"/>
                <a:gd name="T6" fmla="*/ 10 w 21"/>
                <a:gd name="T7" fmla="*/ 0 h 124"/>
                <a:gd name="T8" fmla="*/ 21 w 21"/>
                <a:gd name="T9" fmla="*/ 10 h 124"/>
                <a:gd name="T10" fmla="*/ 21 w 21"/>
                <a:gd name="T11" fmla="*/ 113 h 124"/>
                <a:gd name="T12" fmla="*/ 10 w 21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24">
                  <a:moveTo>
                    <a:pt x="10" y="124"/>
                  </a:moveTo>
                  <a:cubicBezTo>
                    <a:pt x="4" y="124"/>
                    <a:pt x="0" y="119"/>
                    <a:pt x="0" y="113"/>
                  </a:cubicBezTo>
                  <a:lnTo>
                    <a:pt x="0" y="10"/>
                  </a:ln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lnTo>
                    <a:pt x="21" y="113"/>
                  </a:lnTo>
                  <a:cubicBezTo>
                    <a:pt x="21" y="119"/>
                    <a:pt x="16" y="124"/>
                    <a:pt x="1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852C14A1-9ED5-491A-B304-8F3EB0E1D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176" y="1076325"/>
              <a:ext cx="11113" cy="65088"/>
            </a:xfrm>
            <a:custGeom>
              <a:avLst/>
              <a:gdLst>
                <a:gd name="T0" fmla="*/ 10 w 21"/>
                <a:gd name="T1" fmla="*/ 128 h 128"/>
                <a:gd name="T2" fmla="*/ 0 w 21"/>
                <a:gd name="T3" fmla="*/ 117 h 128"/>
                <a:gd name="T4" fmla="*/ 0 w 21"/>
                <a:gd name="T5" fmla="*/ 11 h 128"/>
                <a:gd name="T6" fmla="*/ 10 w 21"/>
                <a:gd name="T7" fmla="*/ 0 h 128"/>
                <a:gd name="T8" fmla="*/ 21 w 21"/>
                <a:gd name="T9" fmla="*/ 11 h 128"/>
                <a:gd name="T10" fmla="*/ 21 w 21"/>
                <a:gd name="T11" fmla="*/ 117 h 128"/>
                <a:gd name="T12" fmla="*/ 10 w 21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28">
                  <a:moveTo>
                    <a:pt x="10" y="128"/>
                  </a:moveTo>
                  <a:cubicBezTo>
                    <a:pt x="4" y="128"/>
                    <a:pt x="0" y="123"/>
                    <a:pt x="0" y="117"/>
                  </a:cubicBezTo>
                  <a:lnTo>
                    <a:pt x="0" y="11"/>
                  </a:ln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1" y="5"/>
                    <a:pt x="21" y="11"/>
                  </a:cubicBezTo>
                  <a:lnTo>
                    <a:pt x="21" y="117"/>
                  </a:lnTo>
                  <a:cubicBezTo>
                    <a:pt x="21" y="123"/>
                    <a:pt x="16" y="128"/>
                    <a:pt x="10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8D3DC031-77F9-409F-A191-E993F07FC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5676" y="1458913"/>
              <a:ext cx="136525" cy="11113"/>
            </a:xfrm>
            <a:custGeom>
              <a:avLst/>
              <a:gdLst>
                <a:gd name="T0" fmla="*/ 243 w 253"/>
                <a:gd name="T1" fmla="*/ 22 h 22"/>
                <a:gd name="T2" fmla="*/ 10 w 253"/>
                <a:gd name="T3" fmla="*/ 22 h 22"/>
                <a:gd name="T4" fmla="*/ 0 w 253"/>
                <a:gd name="T5" fmla="*/ 11 h 22"/>
                <a:gd name="T6" fmla="*/ 10 w 253"/>
                <a:gd name="T7" fmla="*/ 0 h 22"/>
                <a:gd name="T8" fmla="*/ 243 w 253"/>
                <a:gd name="T9" fmla="*/ 0 h 22"/>
                <a:gd name="T10" fmla="*/ 253 w 253"/>
                <a:gd name="T11" fmla="*/ 11 h 22"/>
                <a:gd name="T12" fmla="*/ 243 w 253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" h="22">
                  <a:moveTo>
                    <a:pt x="243" y="22"/>
                  </a:moveTo>
                  <a:lnTo>
                    <a:pt x="10" y="22"/>
                  </a:lnTo>
                  <a:cubicBezTo>
                    <a:pt x="4" y="22"/>
                    <a:pt x="0" y="17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lnTo>
                    <a:pt x="243" y="0"/>
                  </a:lnTo>
                  <a:cubicBezTo>
                    <a:pt x="249" y="0"/>
                    <a:pt x="253" y="5"/>
                    <a:pt x="253" y="11"/>
                  </a:cubicBezTo>
                  <a:cubicBezTo>
                    <a:pt x="253" y="17"/>
                    <a:pt x="249" y="22"/>
                    <a:pt x="24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2B52B9FA-0707-4D52-BF7E-E20B8C8FB3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9326" y="1203325"/>
              <a:ext cx="249238" cy="160338"/>
            </a:xfrm>
            <a:custGeom>
              <a:avLst/>
              <a:gdLst>
                <a:gd name="T0" fmla="*/ 22 w 460"/>
                <a:gd name="T1" fmla="*/ 203 h 311"/>
                <a:gd name="T2" fmla="*/ 304 w 460"/>
                <a:gd name="T3" fmla="*/ 203 h 311"/>
                <a:gd name="T4" fmla="*/ 314 w 460"/>
                <a:gd name="T5" fmla="*/ 214 h 311"/>
                <a:gd name="T6" fmla="*/ 314 w 460"/>
                <a:gd name="T7" fmla="*/ 274 h 311"/>
                <a:gd name="T8" fmla="*/ 433 w 460"/>
                <a:gd name="T9" fmla="*/ 156 h 311"/>
                <a:gd name="T10" fmla="*/ 314 w 460"/>
                <a:gd name="T11" fmla="*/ 37 h 311"/>
                <a:gd name="T12" fmla="*/ 314 w 460"/>
                <a:gd name="T13" fmla="*/ 98 h 311"/>
                <a:gd name="T14" fmla="*/ 304 w 460"/>
                <a:gd name="T15" fmla="*/ 109 h 311"/>
                <a:gd name="T16" fmla="*/ 22 w 460"/>
                <a:gd name="T17" fmla="*/ 109 h 311"/>
                <a:gd name="T18" fmla="*/ 22 w 460"/>
                <a:gd name="T19" fmla="*/ 203 h 311"/>
                <a:gd name="T20" fmla="*/ 304 w 460"/>
                <a:gd name="T21" fmla="*/ 311 h 311"/>
                <a:gd name="T22" fmla="*/ 299 w 460"/>
                <a:gd name="T23" fmla="*/ 310 h 311"/>
                <a:gd name="T24" fmla="*/ 293 w 460"/>
                <a:gd name="T25" fmla="*/ 300 h 311"/>
                <a:gd name="T26" fmla="*/ 293 w 460"/>
                <a:gd name="T27" fmla="*/ 225 h 311"/>
                <a:gd name="T28" fmla="*/ 11 w 460"/>
                <a:gd name="T29" fmla="*/ 225 h 311"/>
                <a:gd name="T30" fmla="*/ 0 w 460"/>
                <a:gd name="T31" fmla="*/ 214 h 311"/>
                <a:gd name="T32" fmla="*/ 0 w 460"/>
                <a:gd name="T33" fmla="*/ 98 h 311"/>
                <a:gd name="T34" fmla="*/ 11 w 460"/>
                <a:gd name="T35" fmla="*/ 87 h 311"/>
                <a:gd name="T36" fmla="*/ 293 w 460"/>
                <a:gd name="T37" fmla="*/ 87 h 311"/>
                <a:gd name="T38" fmla="*/ 293 w 460"/>
                <a:gd name="T39" fmla="*/ 11 h 311"/>
                <a:gd name="T40" fmla="*/ 299 w 460"/>
                <a:gd name="T41" fmla="*/ 1 h 311"/>
                <a:gd name="T42" fmla="*/ 311 w 460"/>
                <a:gd name="T43" fmla="*/ 4 h 311"/>
                <a:gd name="T44" fmla="*/ 456 w 460"/>
                <a:gd name="T45" fmla="*/ 148 h 311"/>
                <a:gd name="T46" fmla="*/ 456 w 460"/>
                <a:gd name="T47" fmla="*/ 163 h 311"/>
                <a:gd name="T48" fmla="*/ 311 w 460"/>
                <a:gd name="T49" fmla="*/ 308 h 311"/>
                <a:gd name="T50" fmla="*/ 304 w 460"/>
                <a:gd name="T51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60" h="311">
                  <a:moveTo>
                    <a:pt x="22" y="203"/>
                  </a:moveTo>
                  <a:lnTo>
                    <a:pt x="304" y="203"/>
                  </a:lnTo>
                  <a:cubicBezTo>
                    <a:pt x="310" y="203"/>
                    <a:pt x="314" y="208"/>
                    <a:pt x="314" y="214"/>
                  </a:cubicBezTo>
                  <a:lnTo>
                    <a:pt x="314" y="274"/>
                  </a:lnTo>
                  <a:lnTo>
                    <a:pt x="433" y="156"/>
                  </a:lnTo>
                  <a:lnTo>
                    <a:pt x="314" y="37"/>
                  </a:lnTo>
                  <a:lnTo>
                    <a:pt x="314" y="98"/>
                  </a:lnTo>
                  <a:cubicBezTo>
                    <a:pt x="314" y="104"/>
                    <a:pt x="310" y="109"/>
                    <a:pt x="304" y="109"/>
                  </a:cubicBezTo>
                  <a:lnTo>
                    <a:pt x="22" y="109"/>
                  </a:lnTo>
                  <a:lnTo>
                    <a:pt x="22" y="203"/>
                  </a:lnTo>
                  <a:close/>
                  <a:moveTo>
                    <a:pt x="304" y="311"/>
                  </a:moveTo>
                  <a:cubicBezTo>
                    <a:pt x="302" y="311"/>
                    <a:pt x="301" y="311"/>
                    <a:pt x="299" y="310"/>
                  </a:cubicBezTo>
                  <a:cubicBezTo>
                    <a:pt x="295" y="309"/>
                    <a:pt x="293" y="305"/>
                    <a:pt x="293" y="300"/>
                  </a:cubicBezTo>
                  <a:lnTo>
                    <a:pt x="293" y="225"/>
                  </a:lnTo>
                  <a:lnTo>
                    <a:pt x="11" y="225"/>
                  </a:lnTo>
                  <a:cubicBezTo>
                    <a:pt x="5" y="225"/>
                    <a:pt x="0" y="220"/>
                    <a:pt x="0" y="214"/>
                  </a:cubicBezTo>
                  <a:lnTo>
                    <a:pt x="0" y="98"/>
                  </a:lnTo>
                  <a:cubicBezTo>
                    <a:pt x="0" y="92"/>
                    <a:pt x="5" y="87"/>
                    <a:pt x="11" y="87"/>
                  </a:cubicBezTo>
                  <a:lnTo>
                    <a:pt x="293" y="87"/>
                  </a:lnTo>
                  <a:lnTo>
                    <a:pt x="293" y="11"/>
                  </a:lnTo>
                  <a:cubicBezTo>
                    <a:pt x="293" y="7"/>
                    <a:pt x="295" y="3"/>
                    <a:pt x="299" y="1"/>
                  </a:cubicBezTo>
                  <a:cubicBezTo>
                    <a:pt x="303" y="0"/>
                    <a:pt x="308" y="1"/>
                    <a:pt x="311" y="4"/>
                  </a:cubicBezTo>
                  <a:lnTo>
                    <a:pt x="456" y="148"/>
                  </a:lnTo>
                  <a:cubicBezTo>
                    <a:pt x="460" y="152"/>
                    <a:pt x="460" y="159"/>
                    <a:pt x="456" y="163"/>
                  </a:cubicBezTo>
                  <a:lnTo>
                    <a:pt x="311" y="308"/>
                  </a:lnTo>
                  <a:cubicBezTo>
                    <a:pt x="309" y="310"/>
                    <a:pt x="306" y="311"/>
                    <a:pt x="304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175DD42D-E767-4D98-8C3B-D30169C61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314" y="1087438"/>
              <a:ext cx="249238" cy="160338"/>
            </a:xfrm>
            <a:custGeom>
              <a:avLst/>
              <a:gdLst>
                <a:gd name="T0" fmla="*/ 27 w 460"/>
                <a:gd name="T1" fmla="*/ 156 h 311"/>
                <a:gd name="T2" fmla="*/ 145 w 460"/>
                <a:gd name="T3" fmla="*/ 274 h 311"/>
                <a:gd name="T4" fmla="*/ 145 w 460"/>
                <a:gd name="T5" fmla="*/ 214 h 311"/>
                <a:gd name="T6" fmla="*/ 156 w 460"/>
                <a:gd name="T7" fmla="*/ 203 h 311"/>
                <a:gd name="T8" fmla="*/ 438 w 460"/>
                <a:gd name="T9" fmla="*/ 203 h 311"/>
                <a:gd name="T10" fmla="*/ 438 w 460"/>
                <a:gd name="T11" fmla="*/ 109 h 311"/>
                <a:gd name="T12" fmla="*/ 156 w 460"/>
                <a:gd name="T13" fmla="*/ 109 h 311"/>
                <a:gd name="T14" fmla="*/ 145 w 460"/>
                <a:gd name="T15" fmla="*/ 98 h 311"/>
                <a:gd name="T16" fmla="*/ 145 w 460"/>
                <a:gd name="T17" fmla="*/ 38 h 311"/>
                <a:gd name="T18" fmla="*/ 27 w 460"/>
                <a:gd name="T19" fmla="*/ 156 h 311"/>
                <a:gd name="T20" fmla="*/ 156 w 460"/>
                <a:gd name="T21" fmla="*/ 311 h 311"/>
                <a:gd name="T22" fmla="*/ 149 w 460"/>
                <a:gd name="T23" fmla="*/ 308 h 311"/>
                <a:gd name="T24" fmla="*/ 4 w 460"/>
                <a:gd name="T25" fmla="*/ 164 h 311"/>
                <a:gd name="T26" fmla="*/ 4 w 460"/>
                <a:gd name="T27" fmla="*/ 148 h 311"/>
                <a:gd name="T28" fmla="*/ 149 w 460"/>
                <a:gd name="T29" fmla="*/ 4 h 311"/>
                <a:gd name="T30" fmla="*/ 160 w 460"/>
                <a:gd name="T31" fmla="*/ 1 h 311"/>
                <a:gd name="T32" fmla="*/ 167 w 460"/>
                <a:gd name="T33" fmla="*/ 11 h 311"/>
                <a:gd name="T34" fmla="*/ 167 w 460"/>
                <a:gd name="T35" fmla="*/ 87 h 311"/>
                <a:gd name="T36" fmla="*/ 449 w 460"/>
                <a:gd name="T37" fmla="*/ 87 h 311"/>
                <a:gd name="T38" fmla="*/ 460 w 460"/>
                <a:gd name="T39" fmla="*/ 98 h 311"/>
                <a:gd name="T40" fmla="*/ 460 w 460"/>
                <a:gd name="T41" fmla="*/ 214 h 311"/>
                <a:gd name="T42" fmla="*/ 449 w 460"/>
                <a:gd name="T43" fmla="*/ 225 h 311"/>
                <a:gd name="T44" fmla="*/ 167 w 460"/>
                <a:gd name="T45" fmla="*/ 225 h 311"/>
                <a:gd name="T46" fmla="*/ 167 w 460"/>
                <a:gd name="T47" fmla="*/ 300 h 311"/>
                <a:gd name="T48" fmla="*/ 160 w 460"/>
                <a:gd name="T49" fmla="*/ 310 h 311"/>
                <a:gd name="T50" fmla="*/ 156 w 460"/>
                <a:gd name="T51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60" h="311">
                  <a:moveTo>
                    <a:pt x="27" y="156"/>
                  </a:moveTo>
                  <a:lnTo>
                    <a:pt x="145" y="274"/>
                  </a:lnTo>
                  <a:lnTo>
                    <a:pt x="145" y="214"/>
                  </a:lnTo>
                  <a:cubicBezTo>
                    <a:pt x="145" y="208"/>
                    <a:pt x="150" y="203"/>
                    <a:pt x="156" y="203"/>
                  </a:cubicBezTo>
                  <a:lnTo>
                    <a:pt x="438" y="203"/>
                  </a:lnTo>
                  <a:lnTo>
                    <a:pt x="438" y="109"/>
                  </a:lnTo>
                  <a:lnTo>
                    <a:pt x="156" y="109"/>
                  </a:lnTo>
                  <a:cubicBezTo>
                    <a:pt x="150" y="109"/>
                    <a:pt x="145" y="104"/>
                    <a:pt x="145" y="98"/>
                  </a:cubicBezTo>
                  <a:lnTo>
                    <a:pt x="145" y="38"/>
                  </a:lnTo>
                  <a:lnTo>
                    <a:pt x="27" y="156"/>
                  </a:lnTo>
                  <a:close/>
                  <a:moveTo>
                    <a:pt x="156" y="311"/>
                  </a:moveTo>
                  <a:cubicBezTo>
                    <a:pt x="154" y="311"/>
                    <a:pt x="151" y="310"/>
                    <a:pt x="149" y="308"/>
                  </a:cubicBezTo>
                  <a:lnTo>
                    <a:pt x="4" y="164"/>
                  </a:lnTo>
                  <a:cubicBezTo>
                    <a:pt x="0" y="159"/>
                    <a:pt x="0" y="152"/>
                    <a:pt x="4" y="148"/>
                  </a:cubicBezTo>
                  <a:lnTo>
                    <a:pt x="149" y="4"/>
                  </a:lnTo>
                  <a:cubicBezTo>
                    <a:pt x="152" y="1"/>
                    <a:pt x="156" y="0"/>
                    <a:pt x="160" y="1"/>
                  </a:cubicBezTo>
                  <a:cubicBezTo>
                    <a:pt x="165" y="3"/>
                    <a:pt x="167" y="7"/>
                    <a:pt x="167" y="11"/>
                  </a:cubicBezTo>
                  <a:lnTo>
                    <a:pt x="167" y="87"/>
                  </a:lnTo>
                  <a:lnTo>
                    <a:pt x="449" y="87"/>
                  </a:lnTo>
                  <a:cubicBezTo>
                    <a:pt x="455" y="87"/>
                    <a:pt x="460" y="92"/>
                    <a:pt x="460" y="98"/>
                  </a:cubicBezTo>
                  <a:lnTo>
                    <a:pt x="460" y="214"/>
                  </a:lnTo>
                  <a:cubicBezTo>
                    <a:pt x="460" y="220"/>
                    <a:pt x="455" y="225"/>
                    <a:pt x="449" y="225"/>
                  </a:cubicBezTo>
                  <a:lnTo>
                    <a:pt x="167" y="225"/>
                  </a:lnTo>
                  <a:lnTo>
                    <a:pt x="167" y="300"/>
                  </a:lnTo>
                  <a:cubicBezTo>
                    <a:pt x="167" y="305"/>
                    <a:pt x="165" y="309"/>
                    <a:pt x="160" y="310"/>
                  </a:cubicBezTo>
                  <a:cubicBezTo>
                    <a:pt x="159" y="311"/>
                    <a:pt x="158" y="311"/>
                    <a:pt x="156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Rectangle 32"/>
          <p:cNvSpPr/>
          <p:nvPr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1522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714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852407" y="2603715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Oval 10"/>
          <p:cNvSpPr/>
          <p:nvPr userDrawn="1"/>
        </p:nvSpPr>
        <p:spPr>
          <a:xfrm>
            <a:off x="-233997" y="339440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Oval 12"/>
          <p:cNvSpPr/>
          <p:nvPr userDrawn="1"/>
        </p:nvSpPr>
        <p:spPr>
          <a:xfrm>
            <a:off x="2952585" y="528571"/>
            <a:ext cx="3083160" cy="308316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Oval 14"/>
          <p:cNvSpPr/>
          <p:nvPr userDrawn="1"/>
        </p:nvSpPr>
        <p:spPr>
          <a:xfrm>
            <a:off x="4494165" y="2459484"/>
            <a:ext cx="4011281" cy="4011281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3062240" y="1232599"/>
            <a:ext cx="2863850" cy="181133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4891805" y="3043936"/>
            <a:ext cx="3169843" cy="2946928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-145845" y="681136"/>
            <a:ext cx="2678430" cy="227546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66383" y="3043936"/>
            <a:ext cx="3094411" cy="267317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ct val="0"/>
              </a:spcBef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180DA5-579A-C945-885F-E89DBBD035A5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1666A36-DE6A-514C-8561-2F29414D9BE2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BA238FB-1CF1-7845-B2D1-DE59E3809053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5BA9DC3-7602-D448-83BB-A45C4CEA7965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2929FA34-C869-4745-840B-D5425AD5DF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0621B7C0-2568-4D4A-907F-47344972AA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AD6A6B19-BE51-3F44-A886-30CB8F95A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85F223E9-717F-E642-B1E7-74FD1348FA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222EB067-1D71-4247-97A1-026F84B94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00BFAB86-9EFD-634A-AE71-22D16119C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23234B52-00C8-0A41-9DBF-93DB1ED19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F65C3B60-5961-B647-91CF-5A4FF79F6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060717B9-D57C-4C47-9F26-1F0378D0B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A0FB3855-3153-3444-8531-03CD35512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22094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5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71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F3EFA3EC-DF4D-684E-9AD1-D2288F5839AB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18D546E-C88C-E346-9993-ABE902DE12B1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A0AA2E9-9A77-E744-AFB1-1BD306DB47B5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0539604-72A0-A64C-B4F9-9E688966E4CB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DBE7556E-2345-D04D-9CF6-D1B882BD5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2416B8F0-8684-5B4F-AB1A-0B374FA9FE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9D13100-9D70-3F44-85F3-1D6FB6FBE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249A3ED5-DF7D-FF45-9F58-3E86ABB81D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0E9E24DE-779E-884A-9C75-C6041F95D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3832EE47-53D1-894B-9029-7089A2866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EF90551-CBAD-024A-9448-83170DB99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531C502C-4569-3648-96F5-93ECA6CCE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3B4345FC-5325-C442-B6D8-96FC3D3A3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07D2FDB3-4076-CE4A-B111-DBA36DDBA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21DA40E-0615-4A37-90D8-8136EFB804D5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6873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27" name="Oval 26"/>
          <p:cNvSpPr/>
          <p:nvPr userDrawn="1"/>
        </p:nvSpPr>
        <p:spPr>
          <a:xfrm>
            <a:off x="2532585" y="1852191"/>
            <a:ext cx="3254425" cy="3254425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8" name="Oval 27"/>
          <p:cNvSpPr/>
          <p:nvPr userDrawn="1"/>
        </p:nvSpPr>
        <p:spPr>
          <a:xfrm>
            <a:off x="-233997" y="-72616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9" name="Oval 28"/>
          <p:cNvSpPr/>
          <p:nvPr userDrawn="1"/>
        </p:nvSpPr>
        <p:spPr>
          <a:xfrm>
            <a:off x="1179407" y="4136466"/>
            <a:ext cx="2404278" cy="2404278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Oval 29"/>
          <p:cNvSpPr/>
          <p:nvPr userDrawn="1"/>
        </p:nvSpPr>
        <p:spPr>
          <a:xfrm>
            <a:off x="8698525" y="1354751"/>
            <a:ext cx="3958652" cy="3958652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179407" y="4501053"/>
            <a:ext cx="2404278" cy="181133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9267024" y="1735494"/>
            <a:ext cx="2863850" cy="334568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-145845" y="601962"/>
            <a:ext cx="2678430" cy="160969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6197895" y="3298914"/>
            <a:ext cx="2404278" cy="2404278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197895" y="3663501"/>
            <a:ext cx="2404278" cy="181133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2746561" y="2702503"/>
            <a:ext cx="2849923" cy="14160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Font typeface="Arial" charset="0"/>
              <a:buNone/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BA2971-DEBF-864B-89B1-FEE197E2B50F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3DD2147-3605-6542-A9FD-74EEFA7BF915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99F61AC-4112-BE46-B439-9830A42BFEFB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6E88EC-D3BE-9E47-9985-11D9A1FB5671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1D7375B2-C473-7F48-B9C7-0753776EE2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B9D0936F-5922-EC44-985E-B8A62002A4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5B39F420-4DEE-0D49-BE5E-B38449086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3ED3E0F9-9D12-C446-ACDD-FC597BF88F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B2098FBA-1BD0-D841-A9A5-D2962ED05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3DDFF2E2-82F0-FD44-927B-73D743E78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86C437A-3AD4-CB48-8107-C4F4DFD36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599069F3-F353-A944-92FA-CA5546793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D8A4F296-4CF9-644C-8139-ACAB4D1AB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8D3D2847-A972-E246-B934-6839C8435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66882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6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F6468BF-40CF-294E-B06C-265046649165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76FEBF7-C15E-CB4B-969B-F7DD96DF1C67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38032EB-83EC-754D-84EF-1A7A414406D6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5869D86-F423-8644-AFCB-99CF6CFF8F77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6D313757-8C9D-5744-841B-F3F1D5EB9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5A2DD4F0-A901-454B-ACC9-DA0AFB8518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11BA1A9-8FB6-AB47-8D0E-5652BE434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4C7318CF-00FD-3941-8F9F-EFEB77F3E7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D32053A1-2514-EF41-A164-A8A352401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8F37D22A-EACB-F249-8DCA-4CCFDF13B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751BA58-D183-C040-8985-A3C139CDB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8E309916-C376-8248-B752-1260D9EAD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6EE755DE-9CB5-7046-800E-78111CF7D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59E9CB68-E8D1-164F-89B8-F8FC6407B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603EFE7-EF59-4597-B0AB-0EBDCBC6ACAD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3212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21AB84-F81F-4DAF-8B32-E5E29924E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464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21AB84-F81F-4DAF-8B32-E5E29924E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0BE915-A138-40AC-921C-7E55EC8896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Segoe Light"/>
              <a:ea typeface="+mj-ea"/>
              <a:cs typeface="+mj-cs"/>
              <a:sym typeface="Segoe Ligh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27" name="Oval 26"/>
          <p:cNvSpPr/>
          <p:nvPr userDrawn="1"/>
        </p:nvSpPr>
        <p:spPr>
          <a:xfrm>
            <a:off x="2766582" y="1048890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B1D44D0-D904-E543-A336-4C7B15B7D727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76AD78-7A4F-544D-8191-FFEF4F2E134E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C45E7A0-626B-2D4B-BA95-1A30E55EFE9F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EE766D7-F6DE-E641-B785-5B358B2D9277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429C439E-0D28-0148-898D-7E7108E7B7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9384D599-4D44-FD45-8624-F1CB7CC4D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824D44EC-9844-0140-943C-043A6B42C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79E1FFDD-54C2-8B43-81CC-FE6CAD0B12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6BFEB17E-9C1F-9747-9B74-81FDC181A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A1E1258D-02D7-F441-9E4B-4DCBD7FE7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C81C3633-2FF2-2D46-8275-5703E1A23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26B28800-E4E6-3441-86E2-549A99A9C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BC08A3E3-8A73-0443-9317-324F51DE5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6B3F89F-2823-FB42-A8AE-444B85D1E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4580B1D6-C53C-4BFB-914D-367198245795}"/>
              </a:ext>
            </a:extLst>
          </p:cNvPr>
          <p:cNvSpPr/>
          <p:nvPr userDrawn="1"/>
        </p:nvSpPr>
        <p:spPr>
          <a:xfrm>
            <a:off x="4090236" y="2896134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5A4FB-C14B-457D-BEC9-4C10248B3C50}"/>
              </a:ext>
            </a:extLst>
          </p:cNvPr>
          <p:cNvSpPr/>
          <p:nvPr userDrawn="1"/>
        </p:nvSpPr>
        <p:spPr>
          <a:xfrm>
            <a:off x="5218681" y="1048890"/>
            <a:ext cx="3533614" cy="353361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4309837" y="4432249"/>
            <a:ext cx="3094411" cy="15375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Font typeface="Arial" charset="0"/>
              <a:buNone/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</p:spTree>
    <p:extLst>
      <p:ext uri="{BB962C8B-B14F-4D97-AF65-F5344CB8AC3E}">
        <p14:creationId xmlns:p14="http://schemas.microsoft.com/office/powerpoint/2010/main" val="47801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7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983FB16-16E0-1345-BC49-C3284853537A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C7849D6-7F26-5642-869E-E85654A3529C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91DD89-AC3C-7448-889B-8306E5AA6CA6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DB04D02-0560-874F-9AE3-789CC3C474C9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A430E75A-D82A-C342-B30C-16CEB05B6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545CDF59-DFE0-B34F-AF7E-0594A9AE5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866D5054-DC25-7D42-8A5E-351BEADFA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5D83562C-BB8D-B940-9A04-CAB5773896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4FDE391-F1C0-CB41-8781-BE226FC4B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68D442FC-521F-1248-B22D-7EC28A6E1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F48709DD-2C0E-8144-A38B-A8079AED6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1658588-A536-2944-94BF-70EDB884C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6281376C-FF93-6340-A516-AFD4783D3C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B4E1254E-2978-A841-B1AB-FD56A38DB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14489FB-CF58-4E22-9544-60A0EC528BE3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3201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sp>
        <p:nvSpPr>
          <p:cNvPr id="27" name="Oval 26"/>
          <p:cNvSpPr/>
          <p:nvPr userDrawn="1"/>
        </p:nvSpPr>
        <p:spPr>
          <a:xfrm>
            <a:off x="2125015" y="2721091"/>
            <a:ext cx="3083160" cy="3083160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8" name="Oval 27"/>
          <p:cNvSpPr/>
          <p:nvPr userDrawn="1"/>
        </p:nvSpPr>
        <p:spPr>
          <a:xfrm>
            <a:off x="642321" y="649146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9" name="Oval 28"/>
          <p:cNvSpPr/>
          <p:nvPr userDrawn="1"/>
        </p:nvSpPr>
        <p:spPr>
          <a:xfrm>
            <a:off x="5434897" y="240301"/>
            <a:ext cx="2404278" cy="2404278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Oval 29"/>
          <p:cNvSpPr/>
          <p:nvPr userDrawn="1"/>
        </p:nvSpPr>
        <p:spPr>
          <a:xfrm>
            <a:off x="8669997" y="3503880"/>
            <a:ext cx="3783886" cy="3783886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434897" y="604888"/>
            <a:ext cx="2404278" cy="181133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9061751" y="3803355"/>
            <a:ext cx="2863850" cy="334568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730473" y="1323724"/>
            <a:ext cx="2678430" cy="160969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4" name="Oval 33"/>
          <p:cNvSpPr/>
          <p:nvPr userDrawn="1"/>
        </p:nvSpPr>
        <p:spPr>
          <a:xfrm>
            <a:off x="7769452" y="1323724"/>
            <a:ext cx="2854734" cy="2854734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857604" y="1998302"/>
            <a:ext cx="2678430" cy="160969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5265898" y="3926075"/>
            <a:ext cx="2404278" cy="2404278"/>
          </a:xfrm>
          <a:prstGeom prst="ellipse">
            <a:avLst/>
          </a:prstGeom>
          <a:solidFill>
            <a:srgbClr val="00B0F0">
              <a:alpha val="55000"/>
            </a:srgbClr>
          </a:solidFill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5265898" y="4290662"/>
            <a:ext cx="2404278" cy="181133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ctr">
              <a:spcBef>
                <a:spcPct val="0"/>
              </a:spcBef>
              <a:buNone/>
              <a:tabLst/>
              <a:defRPr lang="en-US" sz="3200" b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2113764" y="3503880"/>
            <a:ext cx="3094411" cy="15375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Font typeface="Arial" charset="0"/>
              <a:buNone/>
              <a:defRPr sz="3200" b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BULLET CONTENT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32542A5-8CA8-6647-A3D6-F5B9EF0957E3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35ADEF-7484-A74C-BF61-119AEAD97633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C16189E-9F6D-1E40-80AB-0A1123E5F932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94037C6-CB6D-0945-8DAF-9B755029773C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558AA03-A66D-704D-8092-11D02E036E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DDB690D6-9014-0D4E-892D-E7D9985CD7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30EE1615-DDC1-B54D-89FD-FEBBA29D9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1FA1E799-5EF4-EF49-BC9B-B333C57C0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63F970F5-FDFE-DA43-B33E-C3F9E649B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4CE17361-766F-FB40-A7E9-1445EF17D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F6F7CF02-806A-2B40-A51A-557B09284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CF43D8AA-6D18-7045-A457-0C4CBA26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9CEF0062-D261-194B-A4D3-8376946B0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434CF11-E017-BD4C-B274-4D168BD5C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08012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8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D5F1F400-4B4F-3544-8E93-7B60AA81E611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C833A9-3157-8C41-9467-952619D39CA3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2CF6196-7F11-E04C-89E9-067A9CC69DC3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C514B89-8A16-3347-B5F9-848C2ADA7CAC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89AFF5DB-8A45-0544-A002-65C537CD0F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496D372D-6A11-4546-991A-DF4F2DA989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8037A41A-BD50-294A-AD0A-E6DF828C1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0315034C-9B32-F540-B223-A50B11D07F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4D48B6A-3F4C-5B4B-AF56-A752CDFD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8C08278D-53D9-9748-B036-1E0D1873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D3AB4A0-3FB1-544E-AABF-964D75E9D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CFDBB892-3355-8C4B-9C92-DA05F3D05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D62F832B-4554-A142-B320-71B355441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CAA3B31F-7EBE-FF43-8A10-2BCD3F487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3E980EC9-385B-4FA2-B7C0-A767DFF3543F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00325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3" name="Rectangle 2"/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7" name="Rectangle 16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3512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4" cy="6858000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3" name="Rectangle 2"/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7" name="Rectangle 16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980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174" y="1786655"/>
            <a:ext cx="6569539" cy="2387600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868" y="4580720"/>
            <a:ext cx="6574845" cy="78169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Oval 25"/>
          <p:cNvSpPr/>
          <p:nvPr/>
        </p:nvSpPr>
        <p:spPr>
          <a:xfrm>
            <a:off x="7515351" y="1894006"/>
            <a:ext cx="1280433" cy="128043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8956592" y="1894006"/>
            <a:ext cx="1280433" cy="128043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10405738" y="1892135"/>
            <a:ext cx="1280434" cy="128043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7810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3" name="Rectangle 2"/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6" name="Rectangle 15"/>
          <p:cNvSpPr/>
          <p:nvPr userDrawn="1"/>
        </p:nvSpPr>
        <p:spPr>
          <a:xfrm>
            <a:off x="2990850" y="733425"/>
            <a:ext cx="6298730" cy="4010931"/>
          </a:xfrm>
          <a:prstGeom prst="rect">
            <a:avLst/>
          </a:prstGeom>
          <a:solidFill>
            <a:srgbClr val="394E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3734" y="361950"/>
            <a:ext cx="8469782" cy="4972955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5430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DAFB2D-9A34-4951-8BD8-8C0EEAF5A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6056"/>
            <a:ext cx="5064889" cy="2731625"/>
          </a:xfrm>
        </p:spPr>
        <p:txBody>
          <a:bodyPr anchor="t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8370-8B5F-45EC-9500-156C38895F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530277"/>
            <a:ext cx="5064889" cy="2592731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bg1">
                    <a:lumMod val="7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bg1">
                    <a:lumMod val="7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bg1">
                    <a:lumMod val="7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Place your text here. Avoid bullets.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334752" y="0"/>
            <a:ext cx="2864167" cy="6858000"/>
          </a:xfrm>
          <a:prstGeom prst="rect">
            <a:avLst/>
          </a:prstGeom>
          <a:solidFill>
            <a:srgbClr val="394E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9" name="Rectangle 8"/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/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23" name="Rectangle 22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9900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053798F-1300-B149-8DAD-735AEBBD46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05968" y="3454166"/>
            <a:ext cx="3580064" cy="20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6428268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C694CB4-CE51-353D-71D6-48835E5EBB2C}"/>
              </a:ext>
            </a:extLst>
          </p:cNvPr>
          <p:cNvGrpSpPr/>
          <p:nvPr userDrawn="1"/>
        </p:nvGrpSpPr>
        <p:grpSpPr>
          <a:xfrm>
            <a:off x="193809" y="213958"/>
            <a:ext cx="2441560" cy="577081"/>
            <a:chOff x="139488" y="6240274"/>
            <a:chExt cx="2441560" cy="57708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F3E283E-15BB-DA35-7D4B-06ED36181876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F951EF9F-7385-0188-18EB-AA89C72DA664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5F8A49C-E2F2-B293-CAEC-78EA8735F61E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8E094D8-55EC-E842-6A34-5E7E52C35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E5C8801-30A9-4206-2A71-D907444416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6312BBB6-BE9A-90C7-81C4-55C5204E1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B8496CF0-8DF2-9F53-C511-8F335574EF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CD6BBD21-4F2A-0CFC-F02C-00CE87440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FC4B2034-BBC7-8B2B-89F8-F133F4C36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D4EAE78F-AB96-F4AC-2790-3DAF58F62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7E8C5D5-B90A-B25A-1903-248CA4BD5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9EDF49B3-632F-01CF-7356-1A8B57C55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B826AF2F-5BE9-EFBD-D120-D4750E08C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48609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236" y="4041057"/>
            <a:ext cx="11295763" cy="1304137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6236" y="5423341"/>
            <a:ext cx="11295763" cy="741485"/>
          </a:xfrm>
        </p:spPr>
        <p:txBody>
          <a:bodyPr>
            <a:normAutofit/>
          </a:bodyPr>
          <a:lstStyle>
            <a:lvl1pPr marL="0" indent="0" algn="l">
              <a:lnSpc>
                <a:spcPct val="85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041058"/>
            <a:ext cx="811161" cy="212376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6FCB77-FF44-8F4B-AAE7-117CBDE3B6AC}"/>
              </a:ext>
            </a:extLst>
          </p:cNvPr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A4462D-C6BA-3048-835D-78E4A2FB0BA9}"/>
                </a:ext>
              </a:extLst>
            </p:cNvPr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4BCA563-0790-2745-B2A2-90CD22A00530}"/>
                </a:ext>
              </a:extLst>
            </p:cNvPr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CF7F95D-3EBC-1E44-A7D4-E2A3C8D0F724}"/>
                </a:ext>
              </a:extLst>
            </p:cNvPr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B7FBA44-B281-CA49-93AD-2E9EF40B81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E2F9CAEA-14EF-A145-95A9-988609D530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4ABAB97D-764B-1945-B365-60915DE9C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1422B72F-C764-5B47-B850-0496F289E5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F359AC91-15CB-B44D-8DFC-1C6FE39F9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0098888A-82EB-5C48-B1A1-8C9D9269A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533AA6A5-0AF3-BC44-A2CA-64590C45B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3DB54181-682E-A243-B376-35659F587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502330BE-4102-B041-83A8-088ED0412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20876FA8-AB44-1E48-B0CC-44F74B2C9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5769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236" y="4041057"/>
            <a:ext cx="11295763" cy="1304137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6236" y="5423341"/>
            <a:ext cx="11295763" cy="741485"/>
          </a:xfrm>
        </p:spPr>
        <p:txBody>
          <a:bodyPr>
            <a:normAutofit/>
          </a:bodyPr>
          <a:lstStyle>
            <a:lvl1pPr marL="0" indent="0" algn="l">
              <a:lnSpc>
                <a:spcPct val="85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041058"/>
            <a:ext cx="811161" cy="212376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6140CED-4488-E741-9667-1BF5533D24A4}"/>
              </a:ext>
            </a:extLst>
          </p:cNvPr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E19D4F3-F102-4349-B006-143295E18C42}"/>
                </a:ext>
              </a:extLst>
            </p:cNvPr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E5BCA73-4BE6-8A4F-A5A7-A507CDE28113}"/>
                </a:ext>
              </a:extLst>
            </p:cNvPr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E3ABAC7-D189-3F4E-9FB2-611AA025855E}"/>
                </a:ext>
              </a:extLst>
            </p:cNvPr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97C802E-77F6-1149-89B3-ACB68026F7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7289608-3FA9-934D-ACC4-4B89E1F7A6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C92D7DC8-6496-4B4D-A401-62CD2609D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755124B1-3841-7342-A4E6-084A54D78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3A633F-19B3-7E40-BC78-4BD5E7B1C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B7CF2C78-AE7C-C84D-8192-5FBFAD651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68BEB00F-8549-D644-ADCA-5AABDB0ED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FE536385-5CA6-974F-ACE5-9CDFAA9F8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43F93E2-6170-C847-B908-79692C146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7DE8CB01-8AFB-A04F-854D-B81811FD9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8936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236" y="4041057"/>
            <a:ext cx="11295763" cy="1304137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6236" y="5423341"/>
            <a:ext cx="11295763" cy="741485"/>
          </a:xfrm>
        </p:spPr>
        <p:txBody>
          <a:bodyPr>
            <a:normAutofit/>
          </a:bodyPr>
          <a:lstStyle>
            <a:lvl1pPr marL="0" indent="0" algn="l">
              <a:lnSpc>
                <a:spcPct val="85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041058"/>
            <a:ext cx="811161" cy="212376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239377F-2E3D-AE4D-B8CC-0D4A1CF2B99F}"/>
              </a:ext>
            </a:extLst>
          </p:cNvPr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B0ED18-7736-2B4F-8582-438A330E0919}"/>
                </a:ext>
              </a:extLst>
            </p:cNvPr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03AA5DB-7C3C-1240-ADE4-11022AC75C66}"/>
                </a:ext>
              </a:extLst>
            </p:cNvPr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3D011BF-49B3-3641-99B1-A1B4AEFADCAA}"/>
                </a:ext>
              </a:extLst>
            </p:cNvPr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B93F823-8116-E342-85A3-40AB2666FC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72A2ADDF-75C9-5B4A-A7FE-FFE5C3B4C7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0EC503B5-6038-0749-BCA7-B8434463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F29FA669-DEBB-3146-8F8C-6559FF1CB3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2FA574A3-55F8-524D-9644-E66E1B179A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29A1CC04-AA6C-0741-811E-9A1856A8D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F0EBC093-F7C4-DE4B-A597-6EFBFC494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CB00401-28F5-7F42-AEB3-78942B8A2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A6CDDBAC-B2F7-B842-87CB-441E1A6B2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E178C61-242C-CA44-B11C-8DBF70D25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9319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B56BA-983C-4068-BEC5-728F26AA28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236" y="4041057"/>
            <a:ext cx="11295763" cy="1304137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0384C3-50F7-48E8-BDD1-E5904CCCC9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6236" y="5423341"/>
            <a:ext cx="11295763" cy="741485"/>
          </a:xfrm>
        </p:spPr>
        <p:txBody>
          <a:bodyPr>
            <a:normAutofit/>
          </a:bodyPr>
          <a:lstStyle>
            <a:lvl1pPr marL="0" indent="0" algn="l">
              <a:lnSpc>
                <a:spcPct val="85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041058"/>
            <a:ext cx="811161" cy="212376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8B80B3F-7A01-D04F-9114-092694BDE270}"/>
              </a:ext>
            </a:extLst>
          </p:cNvPr>
          <p:cNvGrpSpPr/>
          <p:nvPr userDrawn="1"/>
        </p:nvGrpSpPr>
        <p:grpSpPr>
          <a:xfrm>
            <a:off x="9986323" y="6240274"/>
            <a:ext cx="2441560" cy="577081"/>
            <a:chOff x="10020088" y="6240274"/>
            <a:chExt cx="2441560" cy="57708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1AB7A90-9DF9-C64C-AEB4-D997623D3262}"/>
                </a:ext>
              </a:extLst>
            </p:cNvPr>
            <p:cNvSpPr/>
            <p:nvPr/>
          </p:nvSpPr>
          <p:spPr>
            <a:xfrm>
              <a:off x="111485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427699-0883-B04D-BAE2-94044D5CBAB0}"/>
                </a:ext>
              </a:extLst>
            </p:cNvPr>
            <p:cNvCxnSpPr/>
            <p:nvPr/>
          </p:nvCxnSpPr>
          <p:spPr>
            <a:xfrm>
              <a:off x="111241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1B86CA8-316D-6C44-B258-0DCBAC24A093}"/>
                </a:ext>
              </a:extLst>
            </p:cNvPr>
            <p:cNvGrpSpPr/>
            <p:nvPr/>
          </p:nvGrpSpPr>
          <p:grpSpPr>
            <a:xfrm>
              <a:off x="10020088" y="6267451"/>
              <a:ext cx="1010344" cy="514350"/>
              <a:chOff x="315913" y="490538"/>
              <a:chExt cx="11534775" cy="5872163"/>
            </a:xfrm>
            <a:solidFill>
              <a:srgbClr val="00B0F0"/>
            </a:solidFill>
          </p:grpSpPr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AFFE32-2926-E848-BB85-0690E67EE5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FF70EA22-68A5-3E49-B5E8-AA9875E4C6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C611A094-B34E-D149-A205-575C2B3F0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DE4BEB77-A1D0-DC4D-960B-B5A33A3168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EC885635-EBF3-7F40-9E22-B345F8759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C14B23E-F6FF-ED41-8C96-658BA7C32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B1CA590-8B92-DA42-BB88-B99F6D20C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2D594EFD-29B5-0E4E-9A5C-0ADBB63E88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D04E3FCA-31EB-F446-94F7-DD19EB0699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01FF8C04-A957-C94A-B4D0-9B3BA8DF4A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0960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3" name="Rectangle 2"/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3609225-8903-451E-9750-3CB216F5C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048F8C9-C444-4F81-8379-A5B931D7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F64D0B6A-1A35-4485-9044-386A44C1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FEF4494E-E2B0-4469-9DB0-B7E1C103A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E9165B0-8F79-4B91-B896-3EF2A1EE7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687BCE18-DF69-444F-A3DB-AFA01A052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DD45B3C5-810D-48F0-81A1-34F355061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087CC0F-A7A2-4FA0-9C31-9EA617B4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C797D0FE-77A7-4FAB-A3C6-25BB0A27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0AD6676C-783F-44FF-A2AB-BDC080F2D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8" name="Rectangle 17"/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699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0B06BCF-F2B7-4875-BD96-59096AFD18CA}"/>
              </a:ext>
            </a:extLst>
          </p:cNvPr>
          <p:cNvGrpSpPr/>
          <p:nvPr userDrawn="1"/>
        </p:nvGrpSpPr>
        <p:grpSpPr>
          <a:xfrm>
            <a:off x="139488" y="6240274"/>
            <a:ext cx="2441560" cy="577081"/>
            <a:chOff x="139488" y="6240274"/>
            <a:chExt cx="2441560" cy="57708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E7A4D9A-7938-4662-84ED-A31885750E32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E5D154E-A366-41C2-80FD-4F9E11A580FB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E8476E9-9E81-4A70-A94C-0C54DB8BAFBD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ACE77406-03A8-4394-9624-7686C5F437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B086F766-C21B-448B-B787-E5C25E8A24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0" name="Freeform 7">
                <a:extLst>
                  <a:ext uri="{FF2B5EF4-FFF2-40B4-BE49-F238E27FC236}">
                    <a16:creationId xmlns:a16="http://schemas.microsoft.com/office/drawing/2014/main" id="{1E3F220A-9CC6-4F08-B711-1CECF5B32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1" name="Freeform 8">
                <a:extLst>
                  <a:ext uri="{FF2B5EF4-FFF2-40B4-BE49-F238E27FC236}">
                    <a16:creationId xmlns:a16="http://schemas.microsoft.com/office/drawing/2014/main" id="{44FDB52B-319D-4890-BD7B-319D1EA2CF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2" name="Freeform 9">
                <a:extLst>
                  <a:ext uri="{FF2B5EF4-FFF2-40B4-BE49-F238E27FC236}">
                    <a16:creationId xmlns:a16="http://schemas.microsoft.com/office/drawing/2014/main" id="{E801198B-C243-47F4-BD20-FE30C7FEF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id="{861EC87F-0921-46E0-BE16-3F71ED47A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id="{F27B4B1E-5286-44BC-A232-7A9625917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57D617D0-4BA9-404A-AD66-718473E2F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6" name="Freeform 13">
                <a:extLst>
                  <a:ext uri="{FF2B5EF4-FFF2-40B4-BE49-F238E27FC236}">
                    <a16:creationId xmlns:a16="http://schemas.microsoft.com/office/drawing/2014/main" id="{1277D5A4-35C1-41C2-9777-708BDC3F0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7" name="Freeform 14">
                <a:extLst>
                  <a:ext uri="{FF2B5EF4-FFF2-40B4-BE49-F238E27FC236}">
                    <a16:creationId xmlns:a16="http://schemas.microsoft.com/office/drawing/2014/main" id="{13697912-20E5-4B7E-A914-8E47099E8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588F7356-5E6F-4745-AD20-0DBC2DA40E4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6241" y="258763"/>
            <a:ext cx="11795760" cy="71596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sz="3600">
                <a:solidFill>
                  <a:schemeClr val="bg1"/>
                </a:solidFill>
              </a:rPr>
              <a:t>Multiple Career Op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871709-E617-4A34-BDE8-30EC6E315363}"/>
              </a:ext>
            </a:extLst>
          </p:cNvPr>
          <p:cNvSpPr/>
          <p:nvPr userDrawn="1"/>
        </p:nvSpPr>
        <p:spPr>
          <a:xfrm>
            <a:off x="10056123" y="6559269"/>
            <a:ext cx="211026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>
                <a:solidFill>
                  <a:schemeClr val="bg1">
                    <a:lumMod val="50000"/>
                  </a:schemeClr>
                </a:solidFill>
                <a:latin typeface="Segoe Light" charset="0"/>
                <a:ea typeface="Segoe Light" charset="0"/>
                <a:cs typeface="Segoe Light" charset="0"/>
              </a:rPr>
              <a:t>www.APMP.org</a:t>
            </a:r>
            <a:endParaRPr lang="en-US" sz="1050">
              <a:solidFill>
                <a:schemeClr val="bg1">
                  <a:lumMod val="50000"/>
                </a:schemeClr>
              </a:solidFill>
              <a:latin typeface="Segoe" charset="0"/>
              <a:ea typeface="Segoe" charset="0"/>
              <a:cs typeface="Sego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736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69C950-95D4-4374-819F-CF933BB58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20680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6" progId="TCLayout.ActiveDocument.1">
                  <p:embed/>
                </p:oleObj>
              </mc:Choice>
              <mc:Fallback>
                <p:oleObj name="think-cell Slide" r:id="rId3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69C950-95D4-4374-819F-CF933BB58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EB1ED8-81C3-4517-802C-DE4DEDCA0C5B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Segoe Light"/>
              <a:ea typeface="+mj-ea"/>
              <a:cs typeface="+mj-cs"/>
              <a:sym typeface="Segoe Light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D66EA7-D110-4894-9FAB-C8336D15E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F609DA-6F6C-47A4-82DA-64B2CD49A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38111-F79F-4F05-84F6-B683ADF8A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F2D088-FB33-4702-AA18-328D379261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75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95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4" r:id="rId32"/>
    <p:sldLayoutId id="2147483696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7" Type="http://schemas.openxmlformats.org/officeDocument/2006/relationships/image" Target="../media/image100.jpe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jpeg"/><Relationship Id="rId5" Type="http://schemas.openxmlformats.org/officeDocument/2006/relationships/image" Target="../media/image98.jpeg"/><Relationship Id="rId4" Type="http://schemas.openxmlformats.org/officeDocument/2006/relationships/image" Target="../media/image9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7" Type="http://schemas.openxmlformats.org/officeDocument/2006/relationships/image" Target="../media/image10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image" Target="../media/image10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9.svg"/><Relationship Id="rId5" Type="http://schemas.openxmlformats.org/officeDocument/2006/relationships/image" Target="../media/image108.png"/><Relationship Id="rId4" Type="http://schemas.openxmlformats.org/officeDocument/2006/relationships/image" Target="../media/image10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10.jpeg"/><Relationship Id="rId11" Type="http://schemas.openxmlformats.org/officeDocument/2006/relationships/image" Target="../media/image210.png"/><Relationship Id="rId5" Type="http://schemas.openxmlformats.org/officeDocument/2006/relationships/image" Target="../media/image1.emf"/><Relationship Id="rId10" Type="http://schemas.openxmlformats.org/officeDocument/2006/relationships/customXml" Target="../ink/ink2.xml"/><Relationship Id="rId4" Type="http://schemas.openxmlformats.org/officeDocument/2006/relationships/oleObject" Target="../embeddings/oleObject4.bin"/><Relationship Id="rId9" Type="http://schemas.openxmlformats.org/officeDocument/2006/relationships/image" Target="../media/image20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svg"/><Relationship Id="rId3" Type="http://schemas.openxmlformats.org/officeDocument/2006/relationships/image" Target="../media/image65.png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sv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23.svg"/><Relationship Id="rId20" Type="http://schemas.openxmlformats.org/officeDocument/2006/relationships/image" Target="../media/image127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13.svg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image" Target="../media/image112.png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28" Type="http://schemas.openxmlformats.org/officeDocument/2006/relationships/image" Target="../media/image135.sv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image" Target="../media/image66.svg"/><Relationship Id="rId9" Type="http://schemas.openxmlformats.org/officeDocument/2006/relationships/image" Target="../media/image116.png"/><Relationship Id="rId14" Type="http://schemas.openxmlformats.org/officeDocument/2006/relationships/image" Target="../media/image121.svg"/><Relationship Id="rId22" Type="http://schemas.openxmlformats.org/officeDocument/2006/relationships/image" Target="../media/image129.svg"/><Relationship Id="rId27" Type="http://schemas.openxmlformats.org/officeDocument/2006/relationships/image" Target="../media/image1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svg"/><Relationship Id="rId3" Type="http://schemas.openxmlformats.org/officeDocument/2006/relationships/image" Target="../media/image65.png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sv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23.svg"/><Relationship Id="rId20" Type="http://schemas.openxmlformats.org/officeDocument/2006/relationships/image" Target="../media/image127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13.svg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image" Target="../media/image112.png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28" Type="http://schemas.openxmlformats.org/officeDocument/2006/relationships/image" Target="../media/image135.sv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image" Target="../media/image66.svg"/><Relationship Id="rId9" Type="http://schemas.openxmlformats.org/officeDocument/2006/relationships/image" Target="../media/image116.png"/><Relationship Id="rId14" Type="http://schemas.openxmlformats.org/officeDocument/2006/relationships/image" Target="../media/image121.svg"/><Relationship Id="rId22" Type="http://schemas.openxmlformats.org/officeDocument/2006/relationships/image" Target="../media/image129.svg"/><Relationship Id="rId27" Type="http://schemas.openxmlformats.org/officeDocument/2006/relationships/image" Target="../media/image1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4.svg"/><Relationship Id="rId21" Type="http://schemas.openxmlformats.org/officeDocument/2006/relationships/image" Target="../media/image39.png"/><Relationship Id="rId42" Type="http://schemas.openxmlformats.org/officeDocument/2006/relationships/image" Target="../media/image60.svg"/><Relationship Id="rId47" Type="http://schemas.openxmlformats.org/officeDocument/2006/relationships/image" Target="../media/image65.png"/><Relationship Id="rId63" Type="http://schemas.openxmlformats.org/officeDocument/2006/relationships/image" Target="../media/image81.png"/><Relationship Id="rId68" Type="http://schemas.openxmlformats.org/officeDocument/2006/relationships/image" Target="../media/image86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4.svg"/><Relationship Id="rId29" Type="http://schemas.openxmlformats.org/officeDocument/2006/relationships/image" Target="../media/image47.png"/><Relationship Id="rId11" Type="http://schemas.openxmlformats.org/officeDocument/2006/relationships/image" Target="../media/image29.png"/><Relationship Id="rId24" Type="http://schemas.openxmlformats.org/officeDocument/2006/relationships/image" Target="../media/image42.svg"/><Relationship Id="rId32" Type="http://schemas.openxmlformats.org/officeDocument/2006/relationships/image" Target="../media/image50.svg"/><Relationship Id="rId37" Type="http://schemas.openxmlformats.org/officeDocument/2006/relationships/image" Target="../media/image55.png"/><Relationship Id="rId40" Type="http://schemas.openxmlformats.org/officeDocument/2006/relationships/image" Target="../media/image58.svg"/><Relationship Id="rId45" Type="http://schemas.openxmlformats.org/officeDocument/2006/relationships/image" Target="../media/image63.png"/><Relationship Id="rId53" Type="http://schemas.openxmlformats.org/officeDocument/2006/relationships/image" Target="../media/image71.png"/><Relationship Id="rId58" Type="http://schemas.openxmlformats.org/officeDocument/2006/relationships/image" Target="../media/image76.svg"/><Relationship Id="rId66" Type="http://schemas.openxmlformats.org/officeDocument/2006/relationships/image" Target="../media/image84.svg"/><Relationship Id="rId74" Type="http://schemas.openxmlformats.org/officeDocument/2006/relationships/image" Target="../media/image92.svg"/><Relationship Id="rId5" Type="http://schemas.openxmlformats.org/officeDocument/2006/relationships/image" Target="../media/image23.png"/><Relationship Id="rId61" Type="http://schemas.openxmlformats.org/officeDocument/2006/relationships/image" Target="../media/image79.png"/><Relationship Id="rId19" Type="http://schemas.openxmlformats.org/officeDocument/2006/relationships/image" Target="../media/image37.png"/><Relationship Id="rId14" Type="http://schemas.openxmlformats.org/officeDocument/2006/relationships/image" Target="../media/image32.svg"/><Relationship Id="rId22" Type="http://schemas.openxmlformats.org/officeDocument/2006/relationships/image" Target="../media/image40.svg"/><Relationship Id="rId27" Type="http://schemas.openxmlformats.org/officeDocument/2006/relationships/image" Target="../media/image45.png"/><Relationship Id="rId30" Type="http://schemas.openxmlformats.org/officeDocument/2006/relationships/image" Target="../media/image48.svg"/><Relationship Id="rId35" Type="http://schemas.openxmlformats.org/officeDocument/2006/relationships/image" Target="../media/image53.png"/><Relationship Id="rId43" Type="http://schemas.openxmlformats.org/officeDocument/2006/relationships/image" Target="../media/image61.png"/><Relationship Id="rId48" Type="http://schemas.openxmlformats.org/officeDocument/2006/relationships/image" Target="../media/image66.svg"/><Relationship Id="rId56" Type="http://schemas.openxmlformats.org/officeDocument/2006/relationships/image" Target="../media/image74.svg"/><Relationship Id="rId64" Type="http://schemas.openxmlformats.org/officeDocument/2006/relationships/image" Target="../media/image82.svg"/><Relationship Id="rId69" Type="http://schemas.openxmlformats.org/officeDocument/2006/relationships/image" Target="../media/image87.png"/><Relationship Id="rId8" Type="http://schemas.openxmlformats.org/officeDocument/2006/relationships/image" Target="../media/image26.svg"/><Relationship Id="rId51" Type="http://schemas.openxmlformats.org/officeDocument/2006/relationships/image" Target="../media/image69.png"/><Relationship Id="rId72" Type="http://schemas.openxmlformats.org/officeDocument/2006/relationships/image" Target="../media/image90.svg"/><Relationship Id="rId3" Type="http://schemas.openxmlformats.org/officeDocument/2006/relationships/image" Target="../media/image21.png"/><Relationship Id="rId12" Type="http://schemas.openxmlformats.org/officeDocument/2006/relationships/image" Target="../media/image30.svg"/><Relationship Id="rId17" Type="http://schemas.openxmlformats.org/officeDocument/2006/relationships/image" Target="../media/image35.png"/><Relationship Id="rId25" Type="http://schemas.openxmlformats.org/officeDocument/2006/relationships/image" Target="../media/image43.png"/><Relationship Id="rId33" Type="http://schemas.openxmlformats.org/officeDocument/2006/relationships/image" Target="../media/image51.png"/><Relationship Id="rId38" Type="http://schemas.openxmlformats.org/officeDocument/2006/relationships/image" Target="../media/image56.svg"/><Relationship Id="rId46" Type="http://schemas.openxmlformats.org/officeDocument/2006/relationships/image" Target="../media/image64.svg"/><Relationship Id="rId59" Type="http://schemas.openxmlformats.org/officeDocument/2006/relationships/image" Target="../media/image77.png"/><Relationship Id="rId67" Type="http://schemas.openxmlformats.org/officeDocument/2006/relationships/image" Target="../media/image85.png"/><Relationship Id="rId20" Type="http://schemas.openxmlformats.org/officeDocument/2006/relationships/image" Target="../media/image38.svg"/><Relationship Id="rId41" Type="http://schemas.openxmlformats.org/officeDocument/2006/relationships/image" Target="../media/image59.png"/><Relationship Id="rId54" Type="http://schemas.openxmlformats.org/officeDocument/2006/relationships/image" Target="../media/image72.svg"/><Relationship Id="rId62" Type="http://schemas.openxmlformats.org/officeDocument/2006/relationships/image" Target="../media/image80.svg"/><Relationship Id="rId70" Type="http://schemas.openxmlformats.org/officeDocument/2006/relationships/image" Target="../media/image88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4.sv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28" Type="http://schemas.openxmlformats.org/officeDocument/2006/relationships/image" Target="../media/image46.svg"/><Relationship Id="rId36" Type="http://schemas.openxmlformats.org/officeDocument/2006/relationships/image" Target="../media/image54.svg"/><Relationship Id="rId49" Type="http://schemas.openxmlformats.org/officeDocument/2006/relationships/image" Target="../media/image67.png"/><Relationship Id="rId57" Type="http://schemas.openxmlformats.org/officeDocument/2006/relationships/image" Target="../media/image75.png"/><Relationship Id="rId10" Type="http://schemas.openxmlformats.org/officeDocument/2006/relationships/image" Target="../media/image28.svg"/><Relationship Id="rId31" Type="http://schemas.openxmlformats.org/officeDocument/2006/relationships/image" Target="../media/image49.png"/><Relationship Id="rId44" Type="http://schemas.openxmlformats.org/officeDocument/2006/relationships/image" Target="../media/image62.svg"/><Relationship Id="rId52" Type="http://schemas.openxmlformats.org/officeDocument/2006/relationships/image" Target="../media/image70.svg"/><Relationship Id="rId60" Type="http://schemas.openxmlformats.org/officeDocument/2006/relationships/image" Target="../media/image78.svg"/><Relationship Id="rId65" Type="http://schemas.openxmlformats.org/officeDocument/2006/relationships/image" Target="../media/image83.png"/><Relationship Id="rId73" Type="http://schemas.openxmlformats.org/officeDocument/2006/relationships/image" Target="../media/image91.png"/><Relationship Id="rId4" Type="http://schemas.openxmlformats.org/officeDocument/2006/relationships/image" Target="../media/image22.svg"/><Relationship Id="rId9" Type="http://schemas.openxmlformats.org/officeDocument/2006/relationships/image" Target="../media/image27.png"/><Relationship Id="rId13" Type="http://schemas.openxmlformats.org/officeDocument/2006/relationships/image" Target="../media/image31.png"/><Relationship Id="rId18" Type="http://schemas.openxmlformats.org/officeDocument/2006/relationships/image" Target="../media/image36.svg"/><Relationship Id="rId39" Type="http://schemas.openxmlformats.org/officeDocument/2006/relationships/image" Target="../media/image57.png"/><Relationship Id="rId34" Type="http://schemas.openxmlformats.org/officeDocument/2006/relationships/image" Target="../media/image52.svg"/><Relationship Id="rId50" Type="http://schemas.openxmlformats.org/officeDocument/2006/relationships/image" Target="../media/image68.svg"/><Relationship Id="rId55" Type="http://schemas.openxmlformats.org/officeDocument/2006/relationships/image" Target="../media/image73.png"/><Relationship Id="rId7" Type="http://schemas.openxmlformats.org/officeDocument/2006/relationships/image" Target="../media/image25.png"/><Relationship Id="rId71" Type="http://schemas.openxmlformats.org/officeDocument/2006/relationships/image" Target="../media/image8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42002ED-7F38-BAA6-EA43-BCF49172D866}"/>
              </a:ext>
            </a:extLst>
          </p:cNvPr>
          <p:cNvSpPr txBox="1"/>
          <p:nvPr/>
        </p:nvSpPr>
        <p:spPr>
          <a:xfrm>
            <a:off x="588623" y="753842"/>
            <a:ext cx="75221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Calibri"/>
                <a:cs typeface="Calibri"/>
              </a:rPr>
              <a:t>Guidance for using this de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BC912-F7DE-3ADA-516B-8EC7F9DB870E}"/>
              </a:ext>
            </a:extLst>
          </p:cNvPr>
          <p:cNvSpPr txBox="1"/>
          <p:nvPr/>
        </p:nvSpPr>
        <p:spPr>
          <a:xfrm>
            <a:off x="677018" y="1863654"/>
            <a:ext cx="10503046" cy="1200329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The deck has two parts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Overview of the bid profession, roles opportunities etc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Activities / materials you can use to engage your audience (virtual or in person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6BCC05-FAD3-AFF6-FE6F-B12CCD82BB9D}"/>
              </a:ext>
            </a:extLst>
          </p:cNvPr>
          <p:cNvSpPr txBox="1"/>
          <p:nvPr/>
        </p:nvSpPr>
        <p:spPr>
          <a:xfrm>
            <a:off x="588623" y="3233168"/>
            <a:ext cx="51995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/>
                <a:cs typeface="Calibri"/>
              </a:rPr>
              <a:t>What you need to do (before using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903EA-FABF-C6F4-7E9E-28A1C02FC6CA}"/>
              </a:ext>
            </a:extLst>
          </p:cNvPr>
          <p:cNvSpPr txBox="1"/>
          <p:nvPr/>
        </p:nvSpPr>
        <p:spPr>
          <a:xfrm>
            <a:off x="5980537" y="3695016"/>
            <a:ext cx="519952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Careful with jargon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Q&amp;As often take longer than you think, and can go off at tang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Try to make the session engaging and interactive – think of them as you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Don’t forget to hide this slid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If you have another activity idea, please create it and share with the APMP commun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ABD8D4-0355-1196-83DD-FC96F9BB3A8F}"/>
              </a:ext>
            </a:extLst>
          </p:cNvPr>
          <p:cNvSpPr txBox="1"/>
          <p:nvPr/>
        </p:nvSpPr>
        <p:spPr>
          <a:xfrm>
            <a:off x="588623" y="3695016"/>
            <a:ext cx="519952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Review the deck and personalise where appropriate (e.g., Intro sli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Check if the language and materials are audience age appropriate, for example, Year 9s (13 – 14) will need different language and messaging vs. undergraduates / post-graduates (20+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Work out how much time you have and therefore what you want to include / hide. Some content is mandatory (check the not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C952B3-19DD-A1C0-FB04-9F88B0499EEF}"/>
              </a:ext>
            </a:extLst>
          </p:cNvPr>
          <p:cNvSpPr txBox="1"/>
          <p:nvPr/>
        </p:nvSpPr>
        <p:spPr>
          <a:xfrm>
            <a:off x="5980537" y="3233168"/>
            <a:ext cx="51995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/>
                <a:cs typeface="Calibri"/>
              </a:rPr>
              <a:t>Things to consider when running your session</a:t>
            </a:r>
          </a:p>
        </p:txBody>
      </p:sp>
    </p:spTree>
    <p:extLst>
      <p:ext uri="{BB962C8B-B14F-4D97-AF65-F5344CB8AC3E}">
        <p14:creationId xmlns:p14="http://schemas.microsoft.com/office/powerpoint/2010/main" val="26198783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4D35F7-BDEF-D3E7-11AE-4C11C538C427}"/>
              </a:ext>
            </a:extLst>
          </p:cNvPr>
          <p:cNvSpPr txBox="1"/>
          <p:nvPr/>
        </p:nvSpPr>
        <p:spPr>
          <a:xfrm>
            <a:off x="2557490" y="3013501"/>
            <a:ext cx="7077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Calibri"/>
                <a:cs typeface="Calibri"/>
              </a:rPr>
              <a:t>Activity</a:t>
            </a:r>
          </a:p>
        </p:txBody>
      </p:sp>
    </p:spTree>
    <p:extLst>
      <p:ext uri="{BB962C8B-B14F-4D97-AF65-F5344CB8AC3E}">
        <p14:creationId xmlns:p14="http://schemas.microsoft.com/office/powerpoint/2010/main" val="1778858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486F0D4-62EB-ACC8-16D6-4B6490EACD59}"/>
              </a:ext>
            </a:extLst>
          </p:cNvPr>
          <p:cNvSpPr txBox="1"/>
          <p:nvPr/>
        </p:nvSpPr>
        <p:spPr>
          <a:xfrm>
            <a:off x="1051928" y="5089951"/>
            <a:ext cx="10088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  <a:latin typeface="Calibri"/>
                <a:cs typeface="Calibri"/>
              </a:rPr>
              <a:t>Everyone’s journey is unique</a:t>
            </a:r>
          </a:p>
          <a:p>
            <a:pPr algn="ctr"/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Meet some of my peers and their experiences</a:t>
            </a:r>
          </a:p>
        </p:txBody>
      </p:sp>
    </p:spTree>
    <p:extLst>
      <p:ext uri="{BB962C8B-B14F-4D97-AF65-F5344CB8AC3E}">
        <p14:creationId xmlns:p14="http://schemas.microsoft.com/office/powerpoint/2010/main" val="4025766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A1C04F5-8F6F-52A1-7606-09F9E7FA9CB7}"/>
              </a:ext>
            </a:extLst>
          </p:cNvPr>
          <p:cNvSpPr txBox="1"/>
          <p:nvPr/>
        </p:nvSpPr>
        <p:spPr>
          <a:xfrm>
            <a:off x="665581" y="984676"/>
            <a:ext cx="10088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"/>
                <a:cs typeface="Calibri"/>
              </a:rPr>
              <a:t>Questions </a:t>
            </a:r>
          </a:p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Anything you want to ask or know more abou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AEFD4A-3ADB-F875-647A-003A563F8FD8}"/>
              </a:ext>
            </a:extLst>
          </p:cNvPr>
          <p:cNvSpPr txBox="1"/>
          <p:nvPr/>
        </p:nvSpPr>
        <p:spPr>
          <a:xfrm>
            <a:off x="2218156" y="3198167"/>
            <a:ext cx="3600000" cy="107721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How can you get involved </a:t>
            </a:r>
            <a:r>
              <a:rPr lang="en-US" sz="2000" dirty="0">
                <a:solidFill>
                  <a:schemeClr val="bg1"/>
                </a:solidFill>
                <a:latin typeface="Calibri"/>
                <a:cs typeface="Calibri"/>
              </a:rPr>
              <a:t>Work experience, internships, place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F7D973-34BD-8492-E0D2-8917EA423413}"/>
              </a:ext>
            </a:extLst>
          </p:cNvPr>
          <p:cNvSpPr txBox="1"/>
          <p:nvPr/>
        </p:nvSpPr>
        <p:spPr>
          <a:xfrm>
            <a:off x="6624053" y="3198167"/>
            <a:ext cx="3600000" cy="14465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Think about your study / career next steps </a:t>
            </a:r>
            <a:b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</a:br>
            <a:r>
              <a:rPr lang="en-US" sz="2000" dirty="0">
                <a:solidFill>
                  <a:schemeClr val="bg1"/>
                </a:solidFill>
                <a:latin typeface="Calibri"/>
                <a:cs typeface="Calibri"/>
              </a:rPr>
              <a:t>Post GCSE, A Level, Degree, what to stud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7347FD-ABE6-A650-C62E-E3D241402D39}"/>
              </a:ext>
            </a:extLst>
          </p:cNvPr>
          <p:cNvSpPr txBox="1"/>
          <p:nvPr/>
        </p:nvSpPr>
        <p:spPr>
          <a:xfrm>
            <a:off x="6624053" y="4949993"/>
            <a:ext cx="360000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APMP Student Membershi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495CA4-B5F9-CFB6-8005-9C7DE0953D2E}"/>
              </a:ext>
            </a:extLst>
          </p:cNvPr>
          <p:cNvSpPr txBox="1"/>
          <p:nvPr/>
        </p:nvSpPr>
        <p:spPr>
          <a:xfrm>
            <a:off x="2218156" y="4949993"/>
            <a:ext cx="3600000" cy="83099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Where to find mor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26979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01311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B2B1A-54D0-F624-2D5E-6445F4C65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6056"/>
            <a:ext cx="6105525" cy="2731625"/>
          </a:xfrm>
        </p:spPr>
        <p:txBody>
          <a:bodyPr/>
          <a:lstStyle/>
          <a:p>
            <a:r>
              <a:rPr lang="en-GB" dirty="0"/>
              <a:t>The role of Bid and Proposal in Sa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8BDA76-1004-F27F-3099-0E1E5F596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id and Proposals is a part of the sales job family</a:t>
            </a:r>
          </a:p>
        </p:txBody>
      </p:sp>
      <p:pic>
        <p:nvPicPr>
          <p:cNvPr id="5" name="Picture 4" descr="People with tablet">
            <a:extLst>
              <a:ext uri="{FF2B5EF4-FFF2-40B4-BE49-F238E27FC236}">
                <a16:creationId xmlns:a16="http://schemas.microsoft.com/office/drawing/2014/main" id="{D0733CE7-32FB-64A2-2ED5-FE883716EE1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3786" y="0"/>
            <a:ext cx="50648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641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leaning on a desk&#10;&#10;Description automatically generated">
            <a:extLst>
              <a:ext uri="{FF2B5EF4-FFF2-40B4-BE49-F238E27FC236}">
                <a16:creationId xmlns:a16="http://schemas.microsoft.com/office/drawing/2014/main" id="{49882065-DA21-4F9E-AA21-AB40D4B1F6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3155" y="995277"/>
            <a:ext cx="1954532" cy="4819395"/>
          </a:xfrm>
          <a:prstGeom prst="rect">
            <a:avLst/>
          </a:prstGeom>
        </p:spPr>
      </p:pic>
      <p:pic>
        <p:nvPicPr>
          <p:cNvPr id="11" name="Picture 10" descr="A picture containing orange, holding, wearing, standing&#10;&#10;Description automatically generated">
            <a:extLst>
              <a:ext uri="{FF2B5EF4-FFF2-40B4-BE49-F238E27FC236}">
                <a16:creationId xmlns:a16="http://schemas.microsoft.com/office/drawing/2014/main" id="{38454247-F7DD-420D-94E9-8558BB2D75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5768" y="1018095"/>
            <a:ext cx="1963149" cy="4780822"/>
          </a:xfrm>
          <a:prstGeom prst="rect">
            <a:avLst/>
          </a:prstGeom>
        </p:spPr>
      </p:pic>
      <p:pic>
        <p:nvPicPr>
          <p:cNvPr id="12" name="Picture 11" descr="A person in a suit standing in front of a book shelf&#10;&#10;Description automatically generated">
            <a:extLst>
              <a:ext uri="{FF2B5EF4-FFF2-40B4-BE49-F238E27FC236}">
                <a16:creationId xmlns:a16="http://schemas.microsoft.com/office/drawing/2014/main" id="{3210BEE9-0251-4BEB-ABCE-6B0678E3EC2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1536" y="1018095"/>
            <a:ext cx="1963152" cy="4819393"/>
          </a:xfrm>
          <a:prstGeom prst="rect">
            <a:avLst/>
          </a:prstGeom>
        </p:spPr>
      </p:pic>
      <p:pic>
        <p:nvPicPr>
          <p:cNvPr id="13" name="Picture 12" descr="A close up of a blackboard&#10;&#10;Description automatically generated">
            <a:extLst>
              <a:ext uri="{FF2B5EF4-FFF2-40B4-BE49-F238E27FC236}">
                <a16:creationId xmlns:a16="http://schemas.microsoft.com/office/drawing/2014/main" id="{D7422650-7A41-4CEE-9F0C-B6A3FE98EE1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7303" y="1018095"/>
            <a:ext cx="1963155" cy="4780822"/>
          </a:xfrm>
          <a:prstGeom prst="rect">
            <a:avLst/>
          </a:prstGeom>
        </p:spPr>
      </p:pic>
      <p:pic>
        <p:nvPicPr>
          <p:cNvPr id="14" name="Picture 13" descr="A close up of a hand&#10;&#10;Description automatically generated">
            <a:extLst>
              <a:ext uri="{FF2B5EF4-FFF2-40B4-BE49-F238E27FC236}">
                <a16:creationId xmlns:a16="http://schemas.microsoft.com/office/drawing/2014/main" id="{40CDF8FA-9DA9-4941-B6CC-86A53467D8C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3072" y="995278"/>
            <a:ext cx="1963157" cy="4819393"/>
          </a:xfrm>
          <a:prstGeom prst="rect">
            <a:avLst/>
          </a:prstGeom>
        </p:spPr>
      </p:pic>
      <p:pic>
        <p:nvPicPr>
          <p:cNvPr id="15" name="Picture 14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id="{B0214400-5A63-47AE-A8AC-A92B6335021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395"/>
          <a:stretch/>
        </p:blipFill>
        <p:spPr>
          <a:xfrm>
            <a:off x="0" y="571597"/>
            <a:ext cx="1963149" cy="5227320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7A28E7A-C046-4E7B-912B-F45325DE91E4}"/>
              </a:ext>
            </a:extLst>
          </p:cNvPr>
          <p:cNvSpPr txBox="1">
            <a:spLocks/>
          </p:cNvSpPr>
          <p:nvPr/>
        </p:nvSpPr>
        <p:spPr>
          <a:xfrm>
            <a:off x="357405" y="5814672"/>
            <a:ext cx="1248338" cy="5397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Doctor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6761313-A599-4ED1-8CCE-9285B001A617}"/>
              </a:ext>
            </a:extLst>
          </p:cNvPr>
          <p:cNvSpPr txBox="1">
            <a:spLocks/>
          </p:cNvSpPr>
          <p:nvPr/>
        </p:nvSpPr>
        <p:spPr>
          <a:xfrm>
            <a:off x="2281627" y="5814672"/>
            <a:ext cx="1491430" cy="5397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Engineer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3B85E0E-67CC-4561-ADC6-FD67A8C400CA}"/>
              </a:ext>
            </a:extLst>
          </p:cNvPr>
          <p:cNvSpPr txBox="1">
            <a:spLocks/>
          </p:cNvSpPr>
          <p:nvPr/>
        </p:nvSpPr>
        <p:spPr>
          <a:xfrm>
            <a:off x="4448943" y="5814672"/>
            <a:ext cx="1248338" cy="53979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Lawyer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730EAAC-CE66-4913-BFD2-2F2C7987E3BB}"/>
              </a:ext>
            </a:extLst>
          </p:cNvPr>
          <p:cNvSpPr txBox="1">
            <a:spLocks/>
          </p:cNvSpPr>
          <p:nvPr/>
        </p:nvSpPr>
        <p:spPr>
          <a:xfrm>
            <a:off x="6391822" y="5814672"/>
            <a:ext cx="1454116" cy="5397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Teacher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3FA4D144-4EB3-407E-B579-5247D41145A6}"/>
              </a:ext>
            </a:extLst>
          </p:cNvPr>
          <p:cNvSpPr txBox="1">
            <a:spLocks/>
          </p:cNvSpPr>
          <p:nvPr/>
        </p:nvSpPr>
        <p:spPr>
          <a:xfrm>
            <a:off x="8540481" y="5814672"/>
            <a:ext cx="1248338" cy="5397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Actor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8CBE529-7855-4399-A8D2-F1F770C6702B}"/>
              </a:ext>
            </a:extLst>
          </p:cNvPr>
          <p:cNvSpPr txBox="1">
            <a:spLocks/>
          </p:cNvSpPr>
          <p:nvPr/>
        </p:nvSpPr>
        <p:spPr>
          <a:xfrm>
            <a:off x="10228843" y="5814672"/>
            <a:ext cx="1963157" cy="5397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Accounta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D8E902-27E2-4ED1-85A1-61DDB77CAC52}"/>
              </a:ext>
            </a:extLst>
          </p:cNvPr>
          <p:cNvSpPr txBox="1"/>
          <p:nvPr/>
        </p:nvSpPr>
        <p:spPr>
          <a:xfrm>
            <a:off x="396240" y="254000"/>
            <a:ext cx="929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IN" sz="3600" dirty="0">
                <a:solidFill>
                  <a:schemeClr val="bg1"/>
                </a:solidFill>
                <a:latin typeface="Calibri"/>
                <a:cs typeface="Calibri"/>
              </a:rPr>
              <a:t>Some well-known professions</a:t>
            </a:r>
          </a:p>
        </p:txBody>
      </p:sp>
    </p:spTree>
    <p:extLst>
      <p:ext uri="{BB962C8B-B14F-4D97-AF65-F5344CB8AC3E}">
        <p14:creationId xmlns:p14="http://schemas.microsoft.com/office/powerpoint/2010/main" val="66000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28D8E902-27E2-4ED1-85A1-61DDB77CAC52}"/>
              </a:ext>
            </a:extLst>
          </p:cNvPr>
          <p:cNvSpPr txBox="1"/>
          <p:nvPr/>
        </p:nvSpPr>
        <p:spPr>
          <a:xfrm>
            <a:off x="396240" y="254000"/>
            <a:ext cx="1179576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600" dirty="0">
                <a:solidFill>
                  <a:schemeClr val="bg1"/>
                </a:solidFill>
                <a:latin typeface="Calibri"/>
                <a:cs typeface="Calibri"/>
              </a:rPr>
              <a:t>What about some less well known jobs?</a:t>
            </a:r>
          </a:p>
        </p:txBody>
      </p:sp>
      <p:pic>
        <p:nvPicPr>
          <p:cNvPr id="6" name="Picture 5" descr="Businesspeople in a team meeting">
            <a:extLst>
              <a:ext uri="{FF2B5EF4-FFF2-40B4-BE49-F238E27FC236}">
                <a16:creationId xmlns:a16="http://schemas.microsoft.com/office/drawing/2014/main" id="{AE3034AB-6AD5-9517-55C4-6657C53FC9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129" y="946206"/>
            <a:ext cx="2423770" cy="5016444"/>
          </a:xfrm>
          <a:prstGeom prst="rect">
            <a:avLst/>
          </a:prstGeom>
        </p:spPr>
      </p:pic>
      <p:pic>
        <p:nvPicPr>
          <p:cNvPr id="12" name="Picture 11" descr="People in an office">
            <a:extLst>
              <a:ext uri="{FF2B5EF4-FFF2-40B4-BE49-F238E27FC236}">
                <a16:creationId xmlns:a16="http://schemas.microsoft.com/office/drawing/2014/main" id="{D4B4ED3D-5DFA-53A4-731F-0425EBC5FF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1361" y="946206"/>
            <a:ext cx="2797425" cy="5016443"/>
          </a:xfrm>
          <a:prstGeom prst="rect">
            <a:avLst/>
          </a:prstGeom>
        </p:spPr>
      </p:pic>
      <p:pic>
        <p:nvPicPr>
          <p:cNvPr id="14" name="Picture 13" descr="Person using tablet">
            <a:extLst>
              <a:ext uri="{FF2B5EF4-FFF2-40B4-BE49-F238E27FC236}">
                <a16:creationId xmlns:a16="http://schemas.microsoft.com/office/drawing/2014/main" id="{91BE6EA3-F6E5-3DE3-087A-2FAFC845F51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1223" y="3181422"/>
            <a:ext cx="2639346" cy="2781227"/>
          </a:xfrm>
          <a:prstGeom prst="rect">
            <a:avLst/>
          </a:prstGeom>
        </p:spPr>
      </p:pic>
      <p:pic>
        <p:nvPicPr>
          <p:cNvPr id="16" name="Picture 15" descr="Businesswoman giving presentation to coworkers">
            <a:extLst>
              <a:ext uri="{FF2B5EF4-FFF2-40B4-BE49-F238E27FC236}">
                <a16:creationId xmlns:a16="http://schemas.microsoft.com/office/drawing/2014/main" id="{F16C7238-936E-FA43-D86D-CCBCD684978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2396" y="946206"/>
            <a:ext cx="6092894" cy="2189342"/>
          </a:xfrm>
          <a:prstGeom prst="rect">
            <a:avLst/>
          </a:prstGeom>
        </p:spPr>
      </p:pic>
      <p:pic>
        <p:nvPicPr>
          <p:cNvPr id="18" name="Picture 17" descr="Businesswomen writing on glass in meeting">
            <a:extLst>
              <a:ext uri="{FF2B5EF4-FFF2-40B4-BE49-F238E27FC236}">
                <a16:creationId xmlns:a16="http://schemas.microsoft.com/office/drawing/2014/main" id="{B0237E9B-5F20-1DE7-B9EB-535A043EC64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5239" y="3181422"/>
            <a:ext cx="3330051" cy="2781227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0F10B28-7D27-665C-5FF6-375333F0CA59}"/>
              </a:ext>
            </a:extLst>
          </p:cNvPr>
          <p:cNvSpPr txBox="1">
            <a:spLocks/>
          </p:cNvSpPr>
          <p:nvPr/>
        </p:nvSpPr>
        <p:spPr>
          <a:xfrm>
            <a:off x="196554" y="917631"/>
            <a:ext cx="2423770" cy="6929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2400" dirty="0">
                <a:solidFill>
                  <a:schemeClr val="accent2"/>
                </a:solidFill>
                <a:latin typeface="Calibri"/>
                <a:cs typeface="Calibri"/>
              </a:rPr>
              <a:t>Finance and Procuremen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F66C9B9-04C6-4308-FAF0-435DED4B00F7}"/>
              </a:ext>
            </a:extLst>
          </p:cNvPr>
          <p:cNvSpPr txBox="1">
            <a:spLocks/>
          </p:cNvSpPr>
          <p:nvPr/>
        </p:nvSpPr>
        <p:spPr>
          <a:xfrm>
            <a:off x="2783569" y="5460395"/>
            <a:ext cx="1992072" cy="548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accent1">
                    <a:lumMod val="20000"/>
                    <a:lumOff val="80000"/>
                  </a:schemeClr>
                </a:solidFill>
                <a:latin typeface="Calibri"/>
                <a:cs typeface="Calibri"/>
              </a:rPr>
              <a:t>Operation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3090591-5B64-4247-17A8-CAD7A6B1AAD9}"/>
              </a:ext>
            </a:extLst>
          </p:cNvPr>
          <p:cNvSpPr txBox="1">
            <a:spLocks/>
          </p:cNvSpPr>
          <p:nvPr/>
        </p:nvSpPr>
        <p:spPr>
          <a:xfrm>
            <a:off x="9190356" y="5086758"/>
            <a:ext cx="2678430" cy="9217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IN" sz="2400" dirty="0">
                <a:solidFill>
                  <a:schemeClr val="accent2"/>
                </a:solidFill>
                <a:latin typeface="Calibri"/>
                <a:cs typeface="Calibri"/>
              </a:rPr>
              <a:t>Project managemen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C64E13D-2F27-E84D-417C-336D2197ADC4}"/>
              </a:ext>
            </a:extLst>
          </p:cNvPr>
          <p:cNvSpPr txBox="1">
            <a:spLocks/>
          </p:cNvSpPr>
          <p:nvPr/>
        </p:nvSpPr>
        <p:spPr>
          <a:xfrm>
            <a:off x="5815116" y="3181422"/>
            <a:ext cx="3153209" cy="4705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accent3"/>
                </a:solidFill>
                <a:latin typeface="Calibri"/>
                <a:cs typeface="Calibri"/>
              </a:rPr>
              <a:t>Human Resources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FDAAE5F0-0A76-E87B-78C4-4BE96CD868CE}"/>
              </a:ext>
            </a:extLst>
          </p:cNvPr>
          <p:cNvSpPr txBox="1">
            <a:spLocks/>
          </p:cNvSpPr>
          <p:nvPr/>
        </p:nvSpPr>
        <p:spPr>
          <a:xfrm>
            <a:off x="6546715" y="973108"/>
            <a:ext cx="2240215" cy="5588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IN" sz="2400" dirty="0">
                <a:solidFill>
                  <a:schemeClr val="accent3"/>
                </a:solidFill>
                <a:latin typeface="Calibri"/>
                <a:cs typeface="Calibri"/>
              </a:rPr>
              <a:t>Sales and marketing</a:t>
            </a:r>
          </a:p>
        </p:txBody>
      </p:sp>
    </p:spTree>
    <p:extLst>
      <p:ext uri="{BB962C8B-B14F-4D97-AF65-F5344CB8AC3E}">
        <p14:creationId xmlns:p14="http://schemas.microsoft.com/office/powerpoint/2010/main" val="327739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ircle: Hollow 9">
            <a:extLst>
              <a:ext uri="{FF2B5EF4-FFF2-40B4-BE49-F238E27FC236}">
                <a16:creationId xmlns:a16="http://schemas.microsoft.com/office/drawing/2014/main" id="{0FD70D57-4AF6-A73D-8B52-2890AE4824EF}"/>
              </a:ext>
            </a:extLst>
          </p:cNvPr>
          <p:cNvSpPr/>
          <p:nvPr/>
        </p:nvSpPr>
        <p:spPr>
          <a:xfrm>
            <a:off x="4296000" y="1228725"/>
            <a:ext cx="3600000" cy="3600000"/>
          </a:xfrm>
          <a:prstGeom prst="donut">
            <a:avLst>
              <a:gd name="adj" fmla="val 17310"/>
            </a:avLst>
          </a:prstGeom>
          <a:solidFill>
            <a:schemeClr val="accent2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EE45AB-4A05-9FB4-5A56-33DA9724E372}"/>
              </a:ext>
            </a:extLst>
          </p:cNvPr>
          <p:cNvSpPr txBox="1"/>
          <p:nvPr/>
        </p:nvSpPr>
        <p:spPr>
          <a:xfrm>
            <a:off x="396240" y="254000"/>
            <a:ext cx="929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IN" sz="3600" dirty="0">
                <a:solidFill>
                  <a:schemeClr val="bg1"/>
                </a:solidFill>
                <a:latin typeface="Calibri"/>
                <a:cs typeface="Calibri"/>
              </a:rPr>
              <a:t>What is Sales and marketing?</a:t>
            </a: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E2B811D2-67AE-D201-4054-0CA4AA59406C}"/>
              </a:ext>
            </a:extLst>
          </p:cNvPr>
          <p:cNvSpPr/>
          <p:nvPr/>
        </p:nvSpPr>
        <p:spPr>
          <a:xfrm>
            <a:off x="1324198" y="1228725"/>
            <a:ext cx="3600000" cy="3600000"/>
          </a:xfrm>
          <a:prstGeom prst="donut">
            <a:avLst>
              <a:gd name="adj" fmla="val 1731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F3BD0E03-94A0-AC0B-B6A7-1B697A959C24}"/>
              </a:ext>
            </a:extLst>
          </p:cNvPr>
          <p:cNvSpPr/>
          <p:nvPr/>
        </p:nvSpPr>
        <p:spPr>
          <a:xfrm>
            <a:off x="7267802" y="1228725"/>
            <a:ext cx="3600000" cy="3600000"/>
          </a:xfrm>
          <a:prstGeom prst="donut">
            <a:avLst>
              <a:gd name="adj" fmla="val 17310"/>
            </a:avLst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EFB2A51C-620B-472D-A4B4-2A5B5B3DB361}"/>
              </a:ext>
            </a:extLst>
          </p:cNvPr>
          <p:cNvSpPr/>
          <p:nvPr/>
        </p:nvSpPr>
        <p:spPr>
          <a:xfrm rot="10800000">
            <a:off x="4296000" y="1228725"/>
            <a:ext cx="3600000" cy="3600000"/>
          </a:xfrm>
          <a:prstGeom prst="blockArc">
            <a:avLst>
              <a:gd name="adj1" fmla="val 10800000"/>
              <a:gd name="adj2" fmla="val 3"/>
              <a:gd name="adj3" fmla="val 17328"/>
            </a:avLst>
          </a:prstGeom>
          <a:solidFill>
            <a:schemeClr val="accent2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3" name="Graphic 12" descr="City with solid fill">
            <a:extLst>
              <a:ext uri="{FF2B5EF4-FFF2-40B4-BE49-F238E27FC236}">
                <a16:creationId xmlns:a16="http://schemas.microsoft.com/office/drawing/2014/main" id="{71C565E4-BAA4-FC07-E55D-BD975D420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67802" y="2128725"/>
            <a:ext cx="1800000" cy="1800000"/>
          </a:xfrm>
          <a:prstGeom prst="rect">
            <a:avLst/>
          </a:prstGeom>
        </p:spPr>
      </p:pic>
      <p:pic>
        <p:nvPicPr>
          <p:cNvPr id="15" name="Graphic 14" descr="Group outline">
            <a:extLst>
              <a:ext uri="{FF2B5EF4-FFF2-40B4-BE49-F238E27FC236}">
                <a16:creationId xmlns:a16="http://schemas.microsoft.com/office/drawing/2014/main" id="{55C74F34-2309-FA8C-9E03-337C28CD45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33947" y="2128725"/>
            <a:ext cx="1800000" cy="1800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3F88E48-4EA6-FE78-E390-6F1317EE5AD5}"/>
              </a:ext>
            </a:extLst>
          </p:cNvPr>
          <p:cNvSpPr txBox="1"/>
          <p:nvPr/>
        </p:nvSpPr>
        <p:spPr>
          <a:xfrm>
            <a:off x="5305425" y="2543175"/>
            <a:ext cx="15906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0" b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V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22AD9B-FB56-F8F3-6992-79CD564D1B47}"/>
              </a:ext>
            </a:extLst>
          </p:cNvPr>
          <p:cNvSpPr txBox="1"/>
          <p:nvPr/>
        </p:nvSpPr>
        <p:spPr>
          <a:xfrm>
            <a:off x="2338609" y="4152067"/>
            <a:ext cx="159067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8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B2C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0E3D6F-5806-57C4-4EB6-38824E75AE1A}"/>
              </a:ext>
            </a:extLst>
          </p:cNvPr>
          <p:cNvSpPr txBox="1"/>
          <p:nvPr/>
        </p:nvSpPr>
        <p:spPr>
          <a:xfrm>
            <a:off x="8272464" y="4119738"/>
            <a:ext cx="159067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8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B2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C8D7BF-39F1-6458-808E-DA33A111FA62}"/>
              </a:ext>
            </a:extLst>
          </p:cNvPr>
          <p:cNvSpPr txBox="1"/>
          <p:nvPr/>
        </p:nvSpPr>
        <p:spPr>
          <a:xfrm>
            <a:off x="1324198" y="5052067"/>
            <a:ext cx="95436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B2B stands for business-to-business, referring to a type of transaction that takes place between one business and another. B2C stands for business-to-consumer, as in a transaction that takes place between a business and an individual as the end customer.</a:t>
            </a:r>
          </a:p>
        </p:txBody>
      </p:sp>
    </p:spTree>
    <p:extLst>
      <p:ext uri="{BB962C8B-B14F-4D97-AF65-F5344CB8AC3E}">
        <p14:creationId xmlns:p14="http://schemas.microsoft.com/office/powerpoint/2010/main" val="2681390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560E98-6D1D-41F4-BA77-55B27FD56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8853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560E98-6D1D-41F4-BA77-55B27FD56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Image result for conductor">
            <a:extLst>
              <a:ext uri="{FF2B5EF4-FFF2-40B4-BE49-F238E27FC236}">
                <a16:creationId xmlns:a16="http://schemas.microsoft.com/office/drawing/2014/main" id="{DEBDDFD9-A7EF-4092-901A-5D5E8C634A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4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1793B9A-1163-41D3-82C4-B985708A2348}"/>
              </a:ext>
            </a:extLst>
          </p:cNvPr>
          <p:cNvGrpSpPr/>
          <p:nvPr/>
        </p:nvGrpSpPr>
        <p:grpSpPr>
          <a:xfrm>
            <a:off x="382847" y="149600"/>
            <a:ext cx="3931548" cy="1948604"/>
            <a:chOff x="382847" y="149600"/>
            <a:chExt cx="3931548" cy="194860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AD2EF92-079E-40AB-8555-ACA29C27795B}"/>
                </a:ext>
              </a:extLst>
            </p:cNvPr>
            <p:cNvGrpSpPr/>
            <p:nvPr/>
          </p:nvGrpSpPr>
          <p:grpSpPr>
            <a:xfrm>
              <a:off x="3559835" y="1345804"/>
              <a:ext cx="754560" cy="752400"/>
              <a:chOff x="1873910" y="1898254"/>
              <a:chExt cx="754560" cy="75240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">
                <p14:nvContentPartPr>
                  <p14:cNvPr id="21" name="Ink 20">
                    <a:extLst>
                      <a:ext uri="{FF2B5EF4-FFF2-40B4-BE49-F238E27FC236}">
                        <a16:creationId xmlns:a16="http://schemas.microsoft.com/office/drawing/2014/main" id="{26E57E92-A696-4916-B1C2-3030485338A1}"/>
                      </a:ext>
                    </a:extLst>
                  </p14:cNvPr>
                  <p14:cNvContentPartPr/>
                  <p14:nvPr/>
                </p14:nvContentPartPr>
                <p14:xfrm>
                  <a:off x="1873910" y="1898254"/>
                  <a:ext cx="707760" cy="617040"/>
                </p14:xfrm>
              </p:contentPart>
            </mc:Choice>
            <mc:Fallback xmlns="">
              <p:pic>
                <p:nvPicPr>
                  <p:cNvPr id="21" name="Ink 20">
                    <a:extLst>
                      <a:ext uri="{FF2B5EF4-FFF2-40B4-BE49-F238E27FC236}">
                        <a16:creationId xmlns:a16="http://schemas.microsoft.com/office/drawing/2014/main" id="{26E57E92-A696-4916-B1C2-3030485338A1}"/>
                      </a:ext>
                    </a:extLst>
                  </p:cNvPr>
                  <p:cNvPicPr/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1837910" y="1862254"/>
                    <a:ext cx="779400" cy="6886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0">
                <p14:nvContentPartPr>
                  <p14:cNvPr id="22" name="Ink 21">
                    <a:extLst>
                      <a:ext uri="{FF2B5EF4-FFF2-40B4-BE49-F238E27FC236}">
                        <a16:creationId xmlns:a16="http://schemas.microsoft.com/office/drawing/2014/main" id="{5F76B056-6F6F-487E-8642-018E36C305A2}"/>
                      </a:ext>
                    </a:extLst>
                  </p14:cNvPr>
                  <p14:cNvContentPartPr/>
                  <p14:nvPr/>
                </p14:nvContentPartPr>
                <p14:xfrm>
                  <a:off x="2388350" y="2334934"/>
                  <a:ext cx="240120" cy="315720"/>
                </p14:xfrm>
              </p:contentPart>
            </mc:Choice>
            <mc:Fallback xmlns="">
              <p:pic>
                <p:nvPicPr>
                  <p:cNvPr id="22" name="Ink 21">
                    <a:extLst>
                      <a:ext uri="{FF2B5EF4-FFF2-40B4-BE49-F238E27FC236}">
                        <a16:creationId xmlns:a16="http://schemas.microsoft.com/office/drawing/2014/main" id="{5F76B056-6F6F-487E-8642-018E36C305A2}"/>
                      </a:ext>
                    </a:extLst>
                  </p:cNvPr>
                  <p:cNvPicPr/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2352350" y="2298975"/>
                    <a:ext cx="311760" cy="387278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B8B63B2-5C09-461A-9C13-4EFF65377724}"/>
                </a:ext>
              </a:extLst>
            </p:cNvPr>
            <p:cNvSpPr txBox="1"/>
            <p:nvPr/>
          </p:nvSpPr>
          <p:spPr>
            <a:xfrm>
              <a:off x="382847" y="149600"/>
              <a:ext cx="3401188" cy="156966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3200" b="1" dirty="0">
                  <a:solidFill>
                    <a:schemeClr val="bg1"/>
                  </a:solidFill>
                  <a:latin typeface="Calibri"/>
                  <a:cs typeface="Calibri"/>
                </a:rPr>
                <a:t>B2B Selling</a:t>
              </a:r>
              <a:endParaRPr lang="en-US" dirty="0"/>
            </a:p>
            <a:p>
              <a:r>
                <a:rPr lang="en-US" sz="3200" b="1" dirty="0">
                  <a:solidFill>
                    <a:schemeClr val="bg1"/>
                  </a:solidFill>
                  <a:latin typeface="Calibri"/>
                  <a:cs typeface="Calibri"/>
                </a:rPr>
                <a:t>Bid and Proposal professional!</a:t>
              </a:r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1145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28D8E902-27E2-4ED1-85A1-61DDB77CAC52}"/>
              </a:ext>
            </a:extLst>
          </p:cNvPr>
          <p:cNvSpPr txBox="1"/>
          <p:nvPr/>
        </p:nvSpPr>
        <p:spPr>
          <a:xfrm>
            <a:off x="396240" y="254000"/>
            <a:ext cx="1179576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defRPr/>
            </a:pPr>
            <a:r>
              <a:rPr lang="en-US" sz="4000" b="1" dirty="0">
                <a:solidFill>
                  <a:schemeClr val="bg1"/>
                </a:solidFill>
                <a:latin typeface="Calibri"/>
                <a:cs typeface="Calibri"/>
              </a:rPr>
              <a:t>What do you need?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1959014-391F-4423-9209-5CC396819C9D}"/>
              </a:ext>
            </a:extLst>
          </p:cNvPr>
          <p:cNvCxnSpPr>
            <a:stCxn id="41" idx="4"/>
            <a:endCxn id="45" idx="0"/>
          </p:cNvCxnSpPr>
          <p:nvPr/>
        </p:nvCxnSpPr>
        <p:spPr>
          <a:xfrm>
            <a:off x="1036320" y="2062480"/>
            <a:ext cx="0" cy="269240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216083EE-7D91-45D7-96F8-EC8E379222B8}"/>
              </a:ext>
            </a:extLst>
          </p:cNvPr>
          <p:cNvSpPr/>
          <p:nvPr/>
        </p:nvSpPr>
        <p:spPr>
          <a:xfrm>
            <a:off x="751840" y="1493520"/>
            <a:ext cx="568960" cy="568960"/>
          </a:xfrm>
          <a:prstGeom prst="ellipse">
            <a:avLst/>
          </a:prstGeom>
          <a:solidFill>
            <a:srgbClr val="01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Calibri"/>
                <a:cs typeface="Calibri"/>
              </a:rPr>
              <a:t>1</a:t>
            </a:r>
            <a:endParaRPr lang="en-IN" sz="2400">
              <a:latin typeface="Calibri"/>
              <a:cs typeface="Calibri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D270A77-939B-4A04-92F3-53508AEF26CB}"/>
              </a:ext>
            </a:extLst>
          </p:cNvPr>
          <p:cNvSpPr/>
          <p:nvPr/>
        </p:nvSpPr>
        <p:spPr>
          <a:xfrm>
            <a:off x="751840" y="2308860"/>
            <a:ext cx="568960" cy="568960"/>
          </a:xfrm>
          <a:prstGeom prst="ellipse">
            <a:avLst/>
          </a:prstGeom>
          <a:solidFill>
            <a:srgbClr val="01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Calibri"/>
                <a:cs typeface="Calibri"/>
              </a:rPr>
              <a:t>2</a:t>
            </a:r>
            <a:endParaRPr lang="en-IN" sz="2400">
              <a:latin typeface="Calibri"/>
              <a:cs typeface="Calibri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070ED1B-FAC0-439C-A9F6-4C718FBC70F5}"/>
              </a:ext>
            </a:extLst>
          </p:cNvPr>
          <p:cNvSpPr/>
          <p:nvPr/>
        </p:nvSpPr>
        <p:spPr>
          <a:xfrm>
            <a:off x="751840" y="3124200"/>
            <a:ext cx="568960" cy="568960"/>
          </a:xfrm>
          <a:prstGeom prst="ellipse">
            <a:avLst/>
          </a:prstGeom>
          <a:solidFill>
            <a:srgbClr val="01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Calibri"/>
                <a:cs typeface="Calibri"/>
              </a:rPr>
              <a:t>3</a:t>
            </a:r>
            <a:endParaRPr lang="en-IN" sz="2400">
              <a:latin typeface="Calibri"/>
              <a:cs typeface="Calibri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A9A2BC1-7F5F-4BBD-BD3A-7785E3EDDC94}"/>
              </a:ext>
            </a:extLst>
          </p:cNvPr>
          <p:cNvSpPr/>
          <p:nvPr/>
        </p:nvSpPr>
        <p:spPr>
          <a:xfrm>
            <a:off x="751840" y="3939540"/>
            <a:ext cx="568960" cy="568960"/>
          </a:xfrm>
          <a:prstGeom prst="ellipse">
            <a:avLst/>
          </a:prstGeom>
          <a:solidFill>
            <a:srgbClr val="01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Calibri"/>
                <a:cs typeface="Calibri"/>
              </a:rPr>
              <a:t>4</a:t>
            </a:r>
            <a:endParaRPr lang="en-IN" sz="2400">
              <a:latin typeface="Calibri"/>
              <a:cs typeface="Calibri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6A1F72D-22C9-4A1E-B46F-C21CC3EFB48A}"/>
              </a:ext>
            </a:extLst>
          </p:cNvPr>
          <p:cNvSpPr/>
          <p:nvPr/>
        </p:nvSpPr>
        <p:spPr>
          <a:xfrm>
            <a:off x="751840" y="4754880"/>
            <a:ext cx="568960" cy="568960"/>
          </a:xfrm>
          <a:prstGeom prst="ellipse">
            <a:avLst/>
          </a:prstGeom>
          <a:solidFill>
            <a:srgbClr val="01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Calibri"/>
                <a:cs typeface="Calibri"/>
              </a:rPr>
              <a:t>5</a:t>
            </a:r>
            <a:endParaRPr lang="en-IN" sz="2400">
              <a:latin typeface="Calibri"/>
              <a:cs typeface="Calibri"/>
            </a:endParaRPr>
          </a:p>
        </p:txBody>
      </p:sp>
      <p:pic>
        <p:nvPicPr>
          <p:cNvPr id="54" name="Picture 53" descr="A picture containing text, person, indoor&#10;&#10;Description automatically generated">
            <a:extLst>
              <a:ext uri="{FF2B5EF4-FFF2-40B4-BE49-F238E27FC236}">
                <a16:creationId xmlns:a16="http://schemas.microsoft.com/office/drawing/2014/main" id="{26840AC1-897C-485C-90D5-23EB266110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2715" y="0"/>
            <a:ext cx="5139282" cy="6858000"/>
          </a:xfrm>
          <a:prstGeom prst="rect">
            <a:avLst/>
          </a:prstGeom>
        </p:spPr>
      </p:pic>
      <p:sp>
        <p:nvSpPr>
          <p:cNvPr id="55" name="Parallelogram 54">
            <a:extLst>
              <a:ext uri="{FF2B5EF4-FFF2-40B4-BE49-F238E27FC236}">
                <a16:creationId xmlns:a16="http://schemas.microsoft.com/office/drawing/2014/main" id="{71B446C2-E9F0-4F09-B281-038378FED8BA}"/>
              </a:ext>
            </a:extLst>
          </p:cNvPr>
          <p:cNvSpPr/>
          <p:nvPr/>
        </p:nvSpPr>
        <p:spPr>
          <a:xfrm>
            <a:off x="4941538" y="0"/>
            <a:ext cx="3298609" cy="6858000"/>
          </a:xfrm>
          <a:prstGeom prst="parallelogram">
            <a:avLst>
              <a:gd name="adj" fmla="val 34880"/>
            </a:avLst>
          </a:prstGeom>
          <a:solidFill>
            <a:srgbClr val="20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/>
              <a:cs typeface="Calibri"/>
            </a:endParaRPr>
          </a:p>
        </p:txBody>
      </p:sp>
      <p:sp>
        <p:nvSpPr>
          <p:cNvPr id="56" name="Parallelogram 55">
            <a:extLst>
              <a:ext uri="{FF2B5EF4-FFF2-40B4-BE49-F238E27FC236}">
                <a16:creationId xmlns:a16="http://schemas.microsoft.com/office/drawing/2014/main" id="{EF8A813C-0145-4115-B44E-B1E190EE5C2C}"/>
              </a:ext>
            </a:extLst>
          </p:cNvPr>
          <p:cNvSpPr/>
          <p:nvPr/>
        </p:nvSpPr>
        <p:spPr>
          <a:xfrm>
            <a:off x="6634555" y="0"/>
            <a:ext cx="1268712" cy="6858000"/>
          </a:xfrm>
          <a:prstGeom prst="parallelogram">
            <a:avLst>
              <a:gd name="adj" fmla="val 90504"/>
            </a:avLst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/>
              <a:cs typeface="Calibri"/>
            </a:endParaRPr>
          </a:p>
        </p:txBody>
      </p:sp>
      <p:sp>
        <p:nvSpPr>
          <p:cNvPr id="57" name="Parallelogram 56">
            <a:extLst>
              <a:ext uri="{FF2B5EF4-FFF2-40B4-BE49-F238E27FC236}">
                <a16:creationId xmlns:a16="http://schemas.microsoft.com/office/drawing/2014/main" id="{39335D3F-7CB4-4C12-8BFF-4B55DB07884D}"/>
              </a:ext>
            </a:extLst>
          </p:cNvPr>
          <p:cNvSpPr/>
          <p:nvPr/>
        </p:nvSpPr>
        <p:spPr>
          <a:xfrm>
            <a:off x="6807822" y="0"/>
            <a:ext cx="1457827" cy="6858000"/>
          </a:xfrm>
          <a:prstGeom prst="parallelogram">
            <a:avLst>
              <a:gd name="adj" fmla="val 7890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/>
              <a:cs typeface="Calibri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98B9A3A-F1E0-4C8E-B58B-A9C77F31E6AA}"/>
              </a:ext>
            </a:extLst>
          </p:cNvPr>
          <p:cNvSpPr/>
          <p:nvPr/>
        </p:nvSpPr>
        <p:spPr>
          <a:xfrm>
            <a:off x="1665718" y="1547167"/>
            <a:ext cx="52299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Ability to grasp and understand busines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AAC7A7-FDFE-48BB-BAA4-95E473EE8E37}"/>
              </a:ext>
            </a:extLst>
          </p:cNvPr>
          <p:cNvSpPr/>
          <p:nvPr/>
        </p:nvSpPr>
        <p:spPr>
          <a:xfrm>
            <a:off x="1665718" y="2362507"/>
            <a:ext cx="59220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Strong oral and written communication skill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00BA22C-879D-4B8E-9203-42E217967CF7}"/>
              </a:ext>
            </a:extLst>
          </p:cNvPr>
          <p:cNvSpPr/>
          <p:nvPr/>
        </p:nvSpPr>
        <p:spPr>
          <a:xfrm>
            <a:off x="1665718" y="3177847"/>
            <a:ext cx="3291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Strong analytical abiliti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F0A82EB-ECD4-4943-AB3F-CB3D2B940255}"/>
              </a:ext>
            </a:extLst>
          </p:cNvPr>
          <p:cNvSpPr/>
          <p:nvPr/>
        </p:nvSpPr>
        <p:spPr>
          <a:xfrm>
            <a:off x="1665718" y="3993187"/>
            <a:ext cx="463184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Ability to lead teams towards a goa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99C496D-DEE4-4CC8-A81D-C1292505DD26}"/>
              </a:ext>
            </a:extLst>
          </p:cNvPr>
          <p:cNvSpPr/>
          <p:nvPr/>
        </p:nvSpPr>
        <p:spPr>
          <a:xfrm>
            <a:off x="1665718" y="4808527"/>
            <a:ext cx="2637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IN" sz="2400">
                <a:solidFill>
                  <a:schemeClr val="bg1"/>
                </a:solidFill>
                <a:latin typeface="Calibri"/>
                <a:cs typeface="Calibri"/>
              </a:rPr>
              <a:t>Win, Win, and Win!</a:t>
            </a:r>
          </a:p>
        </p:txBody>
      </p:sp>
    </p:spTree>
    <p:extLst>
      <p:ext uri="{BB962C8B-B14F-4D97-AF65-F5344CB8AC3E}">
        <p14:creationId xmlns:p14="http://schemas.microsoft.com/office/powerpoint/2010/main" val="140871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5CEE54A-1C1A-4F6D-A2BB-073BCF033490}"/>
              </a:ext>
            </a:extLst>
          </p:cNvPr>
          <p:cNvSpPr txBox="1">
            <a:spLocks/>
          </p:cNvSpPr>
          <p:nvPr/>
        </p:nvSpPr>
        <p:spPr>
          <a:xfrm>
            <a:off x="392853" y="2652319"/>
            <a:ext cx="7511614" cy="17524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>
                <a:solidFill>
                  <a:srgbClr val="01B0F0"/>
                </a:solidFill>
                <a:latin typeface="Calibri"/>
                <a:cs typeface="Calibri"/>
              </a:rPr>
              <a:t>Bid and Proposal </a:t>
            </a:r>
            <a:r>
              <a:rPr lang="en-US" sz="4800" b="1" dirty="0">
                <a:solidFill>
                  <a:schemeClr val="bg1"/>
                </a:solidFill>
                <a:latin typeface="Calibri"/>
                <a:cs typeface="Calibri"/>
              </a:rPr>
              <a:t>Profession</a:t>
            </a:r>
          </a:p>
          <a:p>
            <a:r>
              <a:rPr lang="en-US" sz="3600" b="1" dirty="0">
                <a:solidFill>
                  <a:schemeClr val="bg1"/>
                </a:solidFill>
                <a:latin typeface="Calibri"/>
                <a:cs typeface="Calibri"/>
              </a:rPr>
              <a:t>What is it, and why should I care? </a:t>
            </a:r>
            <a:endParaRPr lang="en-US" sz="36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C58ADBC9-F44A-2F46-AFD9-BA3917D4CE22}"/>
              </a:ext>
            </a:extLst>
          </p:cNvPr>
          <p:cNvGrpSpPr>
            <a:grpSpLocks noChangeAspect="1"/>
          </p:cNvGrpSpPr>
          <p:nvPr/>
        </p:nvGrpSpPr>
        <p:grpSpPr>
          <a:xfrm>
            <a:off x="1609090" y="1805315"/>
            <a:ext cx="12271135" cy="5170521"/>
            <a:chOff x="5758889" y="461963"/>
            <a:chExt cx="3899462" cy="1643063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A09C6F0-9676-954C-8926-D7209D7ABF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24701" y="1452563"/>
              <a:ext cx="180975" cy="203200"/>
              <a:chOff x="7124701" y="1452563"/>
              <a:chExt cx="180975" cy="203200"/>
            </a:xfrm>
          </p:grpSpPr>
          <p:sp>
            <p:nvSpPr>
              <p:cNvPr id="128" name="Freeform 35">
                <a:extLst>
                  <a:ext uri="{FF2B5EF4-FFF2-40B4-BE49-F238E27FC236}">
                    <a16:creationId xmlns:a16="http://schemas.microsoft.com/office/drawing/2014/main" id="{DC03E414-0D73-8B47-BFC6-046546B281E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97726" y="1550988"/>
                <a:ext cx="44450" cy="104775"/>
              </a:xfrm>
              <a:custGeom>
                <a:avLst/>
                <a:gdLst>
                  <a:gd name="T0" fmla="*/ 85 w 150"/>
                  <a:gd name="T1" fmla="*/ 117 h 355"/>
                  <a:gd name="T2" fmla="*/ 101 w 150"/>
                  <a:gd name="T3" fmla="*/ 355 h 355"/>
                  <a:gd name="T4" fmla="*/ 32 w 150"/>
                  <a:gd name="T5" fmla="*/ 355 h 355"/>
                  <a:gd name="T6" fmla="*/ 42 w 150"/>
                  <a:gd name="T7" fmla="*/ 106 h 355"/>
                  <a:gd name="T8" fmla="*/ 0 w 150"/>
                  <a:gd name="T9" fmla="*/ 0 h 355"/>
                  <a:gd name="T10" fmla="*/ 67 w 150"/>
                  <a:gd name="T11" fmla="*/ 83 h 355"/>
                  <a:gd name="T12" fmla="*/ 150 w 150"/>
                  <a:gd name="T13" fmla="*/ 0 h 355"/>
                  <a:gd name="T14" fmla="*/ 85 w 150"/>
                  <a:gd name="T15" fmla="*/ 11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0" h="355">
                    <a:moveTo>
                      <a:pt x="85" y="117"/>
                    </a:moveTo>
                    <a:lnTo>
                      <a:pt x="101" y="355"/>
                    </a:lnTo>
                    <a:lnTo>
                      <a:pt x="32" y="355"/>
                    </a:lnTo>
                    <a:lnTo>
                      <a:pt x="42" y="106"/>
                    </a:lnTo>
                    <a:lnTo>
                      <a:pt x="0" y="0"/>
                    </a:lnTo>
                    <a:lnTo>
                      <a:pt x="67" y="83"/>
                    </a:lnTo>
                    <a:lnTo>
                      <a:pt x="150" y="0"/>
                    </a:lnTo>
                    <a:lnTo>
                      <a:pt x="85" y="117"/>
                    </a:lnTo>
                    <a:close/>
                  </a:path>
                </a:pathLst>
              </a:custGeom>
              <a:solidFill>
                <a:srgbClr val="9E6E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9" name="Freeform 36">
                <a:extLst>
                  <a:ext uri="{FF2B5EF4-FFF2-40B4-BE49-F238E27FC236}">
                    <a16:creationId xmlns:a16="http://schemas.microsoft.com/office/drawing/2014/main" id="{BDF74737-E55E-CE43-9200-A20205FD076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701" y="1452563"/>
                <a:ext cx="180975" cy="157163"/>
              </a:xfrm>
              <a:custGeom>
                <a:avLst/>
                <a:gdLst>
                  <a:gd name="T0" fmla="*/ 573 w 610"/>
                  <a:gd name="T1" fmla="*/ 364 h 534"/>
                  <a:gd name="T2" fmla="*/ 537 w 610"/>
                  <a:gd name="T3" fmla="*/ 298 h 534"/>
                  <a:gd name="T4" fmla="*/ 542 w 610"/>
                  <a:gd name="T5" fmla="*/ 249 h 534"/>
                  <a:gd name="T6" fmla="*/ 497 w 610"/>
                  <a:gd name="T7" fmla="*/ 189 h 534"/>
                  <a:gd name="T8" fmla="*/ 472 w 610"/>
                  <a:gd name="T9" fmla="*/ 109 h 534"/>
                  <a:gd name="T10" fmla="*/ 400 w 610"/>
                  <a:gd name="T11" fmla="*/ 79 h 534"/>
                  <a:gd name="T12" fmla="*/ 297 w 610"/>
                  <a:gd name="T13" fmla="*/ 0 h 534"/>
                  <a:gd name="T14" fmla="*/ 199 w 610"/>
                  <a:gd name="T15" fmla="*/ 64 h 534"/>
                  <a:gd name="T16" fmla="*/ 125 w 610"/>
                  <a:gd name="T17" fmla="*/ 101 h 534"/>
                  <a:gd name="T18" fmla="*/ 113 w 610"/>
                  <a:gd name="T19" fmla="*/ 183 h 534"/>
                  <a:gd name="T20" fmla="*/ 81 w 610"/>
                  <a:gd name="T21" fmla="*/ 267 h 534"/>
                  <a:gd name="T22" fmla="*/ 81 w 610"/>
                  <a:gd name="T23" fmla="*/ 279 h 534"/>
                  <a:gd name="T24" fmla="*/ 13 w 610"/>
                  <a:gd name="T25" fmla="*/ 339 h 534"/>
                  <a:gd name="T26" fmla="*/ 51 w 610"/>
                  <a:gd name="T27" fmla="*/ 428 h 534"/>
                  <a:gd name="T28" fmla="*/ 217 w 610"/>
                  <a:gd name="T29" fmla="*/ 534 h 534"/>
                  <a:gd name="T30" fmla="*/ 310 w 610"/>
                  <a:gd name="T31" fmla="*/ 512 h 534"/>
                  <a:gd name="T32" fmla="*/ 403 w 610"/>
                  <a:gd name="T33" fmla="*/ 534 h 534"/>
                  <a:gd name="T34" fmla="*/ 529 w 610"/>
                  <a:gd name="T35" fmla="*/ 489 h 534"/>
                  <a:gd name="T36" fmla="*/ 598 w 610"/>
                  <a:gd name="T37" fmla="*/ 444 h 534"/>
                  <a:gd name="T38" fmla="*/ 573 w 610"/>
                  <a:gd name="T39" fmla="*/ 36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10" h="534">
                    <a:moveTo>
                      <a:pt x="573" y="364"/>
                    </a:moveTo>
                    <a:cubicBezTo>
                      <a:pt x="568" y="339"/>
                      <a:pt x="555" y="317"/>
                      <a:pt x="537" y="298"/>
                    </a:cubicBezTo>
                    <a:cubicBezTo>
                      <a:pt x="544" y="279"/>
                      <a:pt x="542" y="266"/>
                      <a:pt x="542" y="249"/>
                    </a:cubicBezTo>
                    <a:cubicBezTo>
                      <a:pt x="542" y="206"/>
                      <a:pt x="497" y="189"/>
                      <a:pt x="497" y="189"/>
                    </a:cubicBezTo>
                    <a:cubicBezTo>
                      <a:pt x="497" y="189"/>
                      <a:pt x="502" y="139"/>
                      <a:pt x="472" y="109"/>
                    </a:cubicBezTo>
                    <a:cubicBezTo>
                      <a:pt x="451" y="88"/>
                      <a:pt x="424" y="87"/>
                      <a:pt x="400" y="79"/>
                    </a:cubicBezTo>
                    <a:cubicBezTo>
                      <a:pt x="386" y="33"/>
                      <a:pt x="345" y="0"/>
                      <a:pt x="297" y="0"/>
                    </a:cubicBezTo>
                    <a:cubicBezTo>
                      <a:pt x="254" y="0"/>
                      <a:pt x="217" y="26"/>
                      <a:pt x="199" y="64"/>
                    </a:cubicBezTo>
                    <a:cubicBezTo>
                      <a:pt x="171" y="67"/>
                      <a:pt x="141" y="76"/>
                      <a:pt x="125" y="101"/>
                    </a:cubicBezTo>
                    <a:cubicBezTo>
                      <a:pt x="107" y="132"/>
                      <a:pt x="108" y="162"/>
                      <a:pt x="113" y="183"/>
                    </a:cubicBezTo>
                    <a:cubicBezTo>
                      <a:pt x="93" y="207"/>
                      <a:pt x="81" y="236"/>
                      <a:pt x="81" y="267"/>
                    </a:cubicBezTo>
                    <a:cubicBezTo>
                      <a:pt x="81" y="271"/>
                      <a:pt x="81" y="275"/>
                      <a:pt x="81" y="279"/>
                    </a:cubicBezTo>
                    <a:cubicBezTo>
                      <a:pt x="54" y="287"/>
                      <a:pt x="24" y="304"/>
                      <a:pt x="13" y="339"/>
                    </a:cubicBezTo>
                    <a:cubicBezTo>
                      <a:pt x="0" y="383"/>
                      <a:pt x="29" y="413"/>
                      <a:pt x="51" y="428"/>
                    </a:cubicBezTo>
                    <a:cubicBezTo>
                      <a:pt x="71" y="489"/>
                      <a:pt x="138" y="534"/>
                      <a:pt x="217" y="534"/>
                    </a:cubicBezTo>
                    <a:cubicBezTo>
                      <a:pt x="252" y="534"/>
                      <a:pt x="283" y="526"/>
                      <a:pt x="310" y="512"/>
                    </a:cubicBezTo>
                    <a:cubicBezTo>
                      <a:pt x="337" y="526"/>
                      <a:pt x="369" y="534"/>
                      <a:pt x="403" y="534"/>
                    </a:cubicBezTo>
                    <a:cubicBezTo>
                      <a:pt x="452" y="534"/>
                      <a:pt x="497" y="517"/>
                      <a:pt x="529" y="489"/>
                    </a:cubicBezTo>
                    <a:cubicBezTo>
                      <a:pt x="555" y="487"/>
                      <a:pt x="586" y="478"/>
                      <a:pt x="598" y="444"/>
                    </a:cubicBezTo>
                    <a:cubicBezTo>
                      <a:pt x="610" y="411"/>
                      <a:pt x="593" y="383"/>
                      <a:pt x="573" y="364"/>
                    </a:cubicBez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30" name="Freeform 37">
                <a:extLst>
                  <a:ext uri="{FF2B5EF4-FFF2-40B4-BE49-F238E27FC236}">
                    <a16:creationId xmlns:a16="http://schemas.microsoft.com/office/drawing/2014/main" id="{4EB55EDE-58C7-B14A-93CB-82CEB1BA4E6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701" y="1452563"/>
                <a:ext cx="142875" cy="152400"/>
              </a:xfrm>
              <a:custGeom>
                <a:avLst/>
                <a:gdLst>
                  <a:gd name="T0" fmla="*/ 400 w 485"/>
                  <a:gd name="T1" fmla="*/ 79 h 519"/>
                  <a:gd name="T2" fmla="*/ 297 w 485"/>
                  <a:gd name="T3" fmla="*/ 0 h 519"/>
                  <a:gd name="T4" fmla="*/ 199 w 485"/>
                  <a:gd name="T5" fmla="*/ 64 h 519"/>
                  <a:gd name="T6" fmla="*/ 126 w 485"/>
                  <a:gd name="T7" fmla="*/ 101 h 519"/>
                  <a:gd name="T8" fmla="*/ 113 w 485"/>
                  <a:gd name="T9" fmla="*/ 183 h 519"/>
                  <a:gd name="T10" fmla="*/ 81 w 485"/>
                  <a:gd name="T11" fmla="*/ 267 h 519"/>
                  <a:gd name="T12" fmla="*/ 81 w 485"/>
                  <a:gd name="T13" fmla="*/ 279 h 519"/>
                  <a:gd name="T14" fmla="*/ 13 w 485"/>
                  <a:gd name="T15" fmla="*/ 339 h 519"/>
                  <a:gd name="T16" fmla="*/ 51 w 485"/>
                  <a:gd name="T17" fmla="*/ 428 h 519"/>
                  <a:gd name="T18" fmla="*/ 141 w 485"/>
                  <a:gd name="T19" fmla="*/ 519 h 519"/>
                  <a:gd name="T20" fmla="*/ 112 w 485"/>
                  <a:gd name="T21" fmla="*/ 442 h 519"/>
                  <a:gd name="T22" fmla="*/ 175 w 485"/>
                  <a:gd name="T23" fmla="*/ 327 h 519"/>
                  <a:gd name="T24" fmla="*/ 163 w 485"/>
                  <a:gd name="T25" fmla="*/ 245 h 519"/>
                  <a:gd name="T26" fmla="*/ 229 w 485"/>
                  <a:gd name="T27" fmla="*/ 193 h 519"/>
                  <a:gd name="T28" fmla="*/ 278 w 485"/>
                  <a:gd name="T29" fmla="*/ 112 h 519"/>
                  <a:gd name="T30" fmla="*/ 375 w 485"/>
                  <a:gd name="T31" fmla="*/ 127 h 519"/>
                  <a:gd name="T32" fmla="*/ 485 w 485"/>
                  <a:gd name="T33" fmla="*/ 127 h 519"/>
                  <a:gd name="T34" fmla="*/ 472 w 485"/>
                  <a:gd name="T35" fmla="*/ 109 h 519"/>
                  <a:gd name="T36" fmla="*/ 400 w 485"/>
                  <a:gd name="T37" fmla="*/ 79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5" h="519">
                    <a:moveTo>
                      <a:pt x="400" y="79"/>
                    </a:moveTo>
                    <a:cubicBezTo>
                      <a:pt x="386" y="33"/>
                      <a:pt x="345" y="0"/>
                      <a:pt x="297" y="0"/>
                    </a:cubicBezTo>
                    <a:cubicBezTo>
                      <a:pt x="254" y="0"/>
                      <a:pt x="217" y="26"/>
                      <a:pt x="199" y="64"/>
                    </a:cubicBezTo>
                    <a:cubicBezTo>
                      <a:pt x="171" y="67"/>
                      <a:pt x="141" y="76"/>
                      <a:pt x="126" y="101"/>
                    </a:cubicBezTo>
                    <a:cubicBezTo>
                      <a:pt x="107" y="132"/>
                      <a:pt x="108" y="162"/>
                      <a:pt x="113" y="183"/>
                    </a:cubicBezTo>
                    <a:cubicBezTo>
                      <a:pt x="93" y="207"/>
                      <a:pt x="81" y="236"/>
                      <a:pt x="81" y="267"/>
                    </a:cubicBezTo>
                    <a:cubicBezTo>
                      <a:pt x="81" y="271"/>
                      <a:pt x="81" y="275"/>
                      <a:pt x="81" y="279"/>
                    </a:cubicBezTo>
                    <a:cubicBezTo>
                      <a:pt x="54" y="287"/>
                      <a:pt x="24" y="304"/>
                      <a:pt x="13" y="339"/>
                    </a:cubicBezTo>
                    <a:cubicBezTo>
                      <a:pt x="0" y="383"/>
                      <a:pt x="29" y="413"/>
                      <a:pt x="51" y="428"/>
                    </a:cubicBezTo>
                    <a:cubicBezTo>
                      <a:pt x="64" y="468"/>
                      <a:pt x="97" y="501"/>
                      <a:pt x="141" y="519"/>
                    </a:cubicBezTo>
                    <a:cubicBezTo>
                      <a:pt x="125" y="496"/>
                      <a:pt x="112" y="469"/>
                      <a:pt x="112" y="442"/>
                    </a:cubicBezTo>
                    <a:cubicBezTo>
                      <a:pt x="112" y="363"/>
                      <a:pt x="175" y="327"/>
                      <a:pt x="175" y="327"/>
                    </a:cubicBezTo>
                    <a:cubicBezTo>
                      <a:pt x="175" y="327"/>
                      <a:pt x="145" y="285"/>
                      <a:pt x="163" y="245"/>
                    </a:cubicBezTo>
                    <a:cubicBezTo>
                      <a:pt x="181" y="205"/>
                      <a:pt x="229" y="193"/>
                      <a:pt x="229" y="193"/>
                    </a:cubicBezTo>
                    <a:cubicBezTo>
                      <a:pt x="229" y="193"/>
                      <a:pt x="225" y="138"/>
                      <a:pt x="278" y="112"/>
                    </a:cubicBezTo>
                    <a:cubicBezTo>
                      <a:pt x="321" y="90"/>
                      <a:pt x="375" y="127"/>
                      <a:pt x="375" y="127"/>
                    </a:cubicBezTo>
                    <a:cubicBezTo>
                      <a:pt x="375" y="127"/>
                      <a:pt x="433" y="80"/>
                      <a:pt x="485" y="127"/>
                    </a:cubicBezTo>
                    <a:cubicBezTo>
                      <a:pt x="481" y="121"/>
                      <a:pt x="477" y="114"/>
                      <a:pt x="472" y="109"/>
                    </a:cubicBezTo>
                    <a:cubicBezTo>
                      <a:pt x="451" y="88"/>
                      <a:pt x="424" y="87"/>
                      <a:pt x="400" y="79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F96AAF9-6475-7040-843E-9312BDC09C6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99576" y="1714500"/>
              <a:ext cx="120650" cy="238126"/>
              <a:chOff x="9299576" y="1714500"/>
              <a:chExt cx="120650" cy="238126"/>
            </a:xfrm>
          </p:grpSpPr>
          <p:sp>
            <p:nvSpPr>
              <p:cNvPr id="125" name="Rectangle 38">
                <a:extLst>
                  <a:ext uri="{FF2B5EF4-FFF2-40B4-BE49-F238E27FC236}">
                    <a16:creationId xmlns:a16="http://schemas.microsoft.com/office/drawing/2014/main" id="{A7F97230-CE2E-5F40-A63B-140F534A1D6A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9353551" y="1827213"/>
                <a:ext cx="12700" cy="125413"/>
              </a:xfrm>
              <a:prstGeom prst="rect">
                <a:avLst/>
              </a:prstGeom>
              <a:solidFill>
                <a:srgbClr val="664D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6" name="Freeform 39">
                <a:extLst>
                  <a:ext uri="{FF2B5EF4-FFF2-40B4-BE49-F238E27FC236}">
                    <a16:creationId xmlns:a16="http://schemas.microsoft.com/office/drawing/2014/main" id="{FD449327-6B31-004B-AA09-175299B0A1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299576" y="1714500"/>
                <a:ext cx="120650" cy="182563"/>
              </a:xfrm>
              <a:custGeom>
                <a:avLst/>
                <a:gdLst>
                  <a:gd name="T0" fmla="*/ 0 w 408"/>
                  <a:gd name="T1" fmla="*/ 516 h 617"/>
                  <a:gd name="T2" fmla="*/ 128 w 408"/>
                  <a:gd name="T3" fmla="*/ 265 h 617"/>
                  <a:gd name="T4" fmla="*/ 202 w 408"/>
                  <a:gd name="T5" fmla="*/ 25 h 617"/>
                  <a:gd name="T6" fmla="*/ 299 w 408"/>
                  <a:gd name="T7" fmla="*/ 342 h 617"/>
                  <a:gd name="T8" fmla="*/ 408 w 408"/>
                  <a:gd name="T9" fmla="*/ 533 h 617"/>
                  <a:gd name="T10" fmla="*/ 340 w 408"/>
                  <a:gd name="T11" fmla="*/ 503 h 617"/>
                  <a:gd name="T12" fmla="*/ 374 w 408"/>
                  <a:gd name="T13" fmla="*/ 591 h 617"/>
                  <a:gd name="T14" fmla="*/ 282 w 408"/>
                  <a:gd name="T15" fmla="*/ 521 h 617"/>
                  <a:gd name="T16" fmla="*/ 295 w 408"/>
                  <a:gd name="T17" fmla="*/ 617 h 617"/>
                  <a:gd name="T18" fmla="*/ 221 w 408"/>
                  <a:gd name="T19" fmla="*/ 537 h 617"/>
                  <a:gd name="T20" fmla="*/ 195 w 408"/>
                  <a:gd name="T21" fmla="*/ 613 h 617"/>
                  <a:gd name="T22" fmla="*/ 164 w 408"/>
                  <a:gd name="T23" fmla="*/ 542 h 617"/>
                  <a:gd name="T24" fmla="*/ 92 w 408"/>
                  <a:gd name="T25" fmla="*/ 595 h 617"/>
                  <a:gd name="T26" fmla="*/ 104 w 408"/>
                  <a:gd name="T27" fmla="*/ 497 h 617"/>
                  <a:gd name="T28" fmla="*/ 32 w 408"/>
                  <a:gd name="T29" fmla="*/ 565 h 617"/>
                  <a:gd name="T30" fmla="*/ 61 w 408"/>
                  <a:gd name="T31" fmla="*/ 480 h 617"/>
                  <a:gd name="T32" fmla="*/ 0 w 408"/>
                  <a:gd name="T33" fmla="*/ 516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8" h="617">
                    <a:moveTo>
                      <a:pt x="0" y="516"/>
                    </a:moveTo>
                    <a:cubicBezTo>
                      <a:pt x="0" y="516"/>
                      <a:pt x="70" y="439"/>
                      <a:pt x="128" y="265"/>
                    </a:cubicBezTo>
                    <a:cubicBezTo>
                      <a:pt x="171" y="134"/>
                      <a:pt x="178" y="0"/>
                      <a:pt x="202" y="25"/>
                    </a:cubicBezTo>
                    <a:cubicBezTo>
                      <a:pt x="226" y="51"/>
                      <a:pt x="249" y="215"/>
                      <a:pt x="299" y="342"/>
                    </a:cubicBezTo>
                    <a:cubicBezTo>
                      <a:pt x="331" y="424"/>
                      <a:pt x="408" y="533"/>
                      <a:pt x="408" y="533"/>
                    </a:cubicBezTo>
                    <a:lnTo>
                      <a:pt x="340" y="503"/>
                    </a:lnTo>
                    <a:lnTo>
                      <a:pt x="374" y="591"/>
                    </a:lnTo>
                    <a:lnTo>
                      <a:pt x="282" y="521"/>
                    </a:lnTo>
                    <a:lnTo>
                      <a:pt x="295" y="617"/>
                    </a:lnTo>
                    <a:lnTo>
                      <a:pt x="221" y="537"/>
                    </a:lnTo>
                    <a:lnTo>
                      <a:pt x="195" y="613"/>
                    </a:lnTo>
                    <a:lnTo>
                      <a:pt x="164" y="542"/>
                    </a:lnTo>
                    <a:lnTo>
                      <a:pt x="92" y="595"/>
                    </a:lnTo>
                    <a:lnTo>
                      <a:pt x="104" y="497"/>
                    </a:lnTo>
                    <a:lnTo>
                      <a:pt x="32" y="565"/>
                    </a:lnTo>
                    <a:lnTo>
                      <a:pt x="61" y="480"/>
                    </a:lnTo>
                    <a:lnTo>
                      <a:pt x="0" y="516"/>
                    </a:ln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7" name="Freeform 40">
                <a:extLst>
                  <a:ext uri="{FF2B5EF4-FFF2-40B4-BE49-F238E27FC236}">
                    <a16:creationId xmlns:a16="http://schemas.microsoft.com/office/drawing/2014/main" id="{B980D3E2-4F07-D54D-9099-5B48EB29A93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299576" y="1714500"/>
                <a:ext cx="60325" cy="176213"/>
              </a:xfrm>
              <a:custGeom>
                <a:avLst/>
                <a:gdLst>
                  <a:gd name="T0" fmla="*/ 128 w 202"/>
                  <a:gd name="T1" fmla="*/ 265 h 595"/>
                  <a:gd name="T2" fmla="*/ 0 w 202"/>
                  <a:gd name="T3" fmla="*/ 516 h 595"/>
                  <a:gd name="T4" fmla="*/ 61 w 202"/>
                  <a:gd name="T5" fmla="*/ 480 h 595"/>
                  <a:gd name="T6" fmla="*/ 32 w 202"/>
                  <a:gd name="T7" fmla="*/ 565 h 595"/>
                  <a:gd name="T8" fmla="*/ 104 w 202"/>
                  <a:gd name="T9" fmla="*/ 497 h 595"/>
                  <a:gd name="T10" fmla="*/ 92 w 202"/>
                  <a:gd name="T11" fmla="*/ 595 h 595"/>
                  <a:gd name="T12" fmla="*/ 164 w 202"/>
                  <a:gd name="T13" fmla="*/ 542 h 595"/>
                  <a:gd name="T14" fmla="*/ 193 w 202"/>
                  <a:gd name="T15" fmla="*/ 280 h 595"/>
                  <a:gd name="T16" fmla="*/ 202 w 202"/>
                  <a:gd name="T17" fmla="*/ 25 h 595"/>
                  <a:gd name="T18" fmla="*/ 128 w 202"/>
                  <a:gd name="T19" fmla="*/ 265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2" h="595">
                    <a:moveTo>
                      <a:pt x="128" y="265"/>
                    </a:moveTo>
                    <a:cubicBezTo>
                      <a:pt x="70" y="439"/>
                      <a:pt x="0" y="516"/>
                      <a:pt x="0" y="516"/>
                    </a:cubicBezTo>
                    <a:lnTo>
                      <a:pt x="61" y="480"/>
                    </a:lnTo>
                    <a:lnTo>
                      <a:pt x="32" y="565"/>
                    </a:lnTo>
                    <a:lnTo>
                      <a:pt x="104" y="497"/>
                    </a:lnTo>
                    <a:lnTo>
                      <a:pt x="92" y="595"/>
                    </a:lnTo>
                    <a:lnTo>
                      <a:pt x="164" y="542"/>
                    </a:lnTo>
                    <a:cubicBezTo>
                      <a:pt x="164" y="542"/>
                      <a:pt x="185" y="415"/>
                      <a:pt x="193" y="280"/>
                    </a:cubicBezTo>
                    <a:cubicBezTo>
                      <a:pt x="200" y="168"/>
                      <a:pt x="194" y="46"/>
                      <a:pt x="202" y="25"/>
                    </a:cubicBezTo>
                    <a:cubicBezTo>
                      <a:pt x="178" y="0"/>
                      <a:pt x="171" y="134"/>
                      <a:pt x="128" y="265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48DE2010-F2D6-D648-92F4-B8839C5DAC4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396413" y="1749425"/>
              <a:ext cx="120650" cy="239713"/>
              <a:chOff x="9396413" y="1749425"/>
              <a:chExt cx="120650" cy="239713"/>
            </a:xfrm>
          </p:grpSpPr>
          <p:sp>
            <p:nvSpPr>
              <p:cNvPr id="122" name="Rectangle 41">
                <a:extLst>
                  <a:ext uri="{FF2B5EF4-FFF2-40B4-BE49-F238E27FC236}">
                    <a16:creationId xmlns:a16="http://schemas.microsoft.com/office/drawing/2014/main" id="{A3DE986F-E0E2-FD40-A97D-0D73460797FB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9450388" y="1862138"/>
                <a:ext cx="12700" cy="127000"/>
              </a:xfrm>
              <a:prstGeom prst="rect">
                <a:avLst/>
              </a:prstGeom>
              <a:solidFill>
                <a:srgbClr val="664D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3" name="Freeform 42">
                <a:extLst>
                  <a:ext uri="{FF2B5EF4-FFF2-40B4-BE49-F238E27FC236}">
                    <a16:creationId xmlns:a16="http://schemas.microsoft.com/office/drawing/2014/main" id="{70F94E97-6952-184D-9B6E-0DC09F95FDC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396413" y="1749425"/>
                <a:ext cx="120650" cy="182563"/>
              </a:xfrm>
              <a:custGeom>
                <a:avLst/>
                <a:gdLst>
                  <a:gd name="T0" fmla="*/ 0 w 407"/>
                  <a:gd name="T1" fmla="*/ 516 h 617"/>
                  <a:gd name="T2" fmla="*/ 128 w 407"/>
                  <a:gd name="T3" fmla="*/ 266 h 617"/>
                  <a:gd name="T4" fmla="*/ 202 w 407"/>
                  <a:gd name="T5" fmla="*/ 26 h 617"/>
                  <a:gd name="T6" fmla="*/ 299 w 407"/>
                  <a:gd name="T7" fmla="*/ 343 h 617"/>
                  <a:gd name="T8" fmla="*/ 407 w 407"/>
                  <a:gd name="T9" fmla="*/ 534 h 617"/>
                  <a:gd name="T10" fmla="*/ 340 w 407"/>
                  <a:gd name="T11" fmla="*/ 504 h 617"/>
                  <a:gd name="T12" fmla="*/ 374 w 407"/>
                  <a:gd name="T13" fmla="*/ 592 h 617"/>
                  <a:gd name="T14" fmla="*/ 282 w 407"/>
                  <a:gd name="T15" fmla="*/ 522 h 617"/>
                  <a:gd name="T16" fmla="*/ 295 w 407"/>
                  <a:gd name="T17" fmla="*/ 617 h 617"/>
                  <a:gd name="T18" fmla="*/ 221 w 407"/>
                  <a:gd name="T19" fmla="*/ 538 h 617"/>
                  <a:gd name="T20" fmla="*/ 195 w 407"/>
                  <a:gd name="T21" fmla="*/ 614 h 617"/>
                  <a:gd name="T22" fmla="*/ 164 w 407"/>
                  <a:gd name="T23" fmla="*/ 542 h 617"/>
                  <a:gd name="T24" fmla="*/ 92 w 407"/>
                  <a:gd name="T25" fmla="*/ 596 h 617"/>
                  <a:gd name="T26" fmla="*/ 104 w 407"/>
                  <a:gd name="T27" fmla="*/ 498 h 617"/>
                  <a:gd name="T28" fmla="*/ 32 w 407"/>
                  <a:gd name="T29" fmla="*/ 566 h 617"/>
                  <a:gd name="T30" fmla="*/ 61 w 407"/>
                  <a:gd name="T31" fmla="*/ 480 h 617"/>
                  <a:gd name="T32" fmla="*/ 0 w 407"/>
                  <a:gd name="T33" fmla="*/ 516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7" h="617">
                    <a:moveTo>
                      <a:pt x="0" y="516"/>
                    </a:moveTo>
                    <a:cubicBezTo>
                      <a:pt x="0" y="516"/>
                      <a:pt x="70" y="440"/>
                      <a:pt x="128" y="266"/>
                    </a:cubicBezTo>
                    <a:cubicBezTo>
                      <a:pt x="171" y="134"/>
                      <a:pt x="178" y="0"/>
                      <a:pt x="202" y="26"/>
                    </a:cubicBezTo>
                    <a:cubicBezTo>
                      <a:pt x="226" y="51"/>
                      <a:pt x="249" y="216"/>
                      <a:pt x="299" y="343"/>
                    </a:cubicBezTo>
                    <a:cubicBezTo>
                      <a:pt x="331" y="425"/>
                      <a:pt x="407" y="534"/>
                      <a:pt x="407" y="534"/>
                    </a:cubicBezTo>
                    <a:lnTo>
                      <a:pt x="340" y="504"/>
                    </a:lnTo>
                    <a:lnTo>
                      <a:pt x="374" y="592"/>
                    </a:lnTo>
                    <a:lnTo>
                      <a:pt x="282" y="522"/>
                    </a:lnTo>
                    <a:lnTo>
                      <a:pt x="295" y="617"/>
                    </a:lnTo>
                    <a:lnTo>
                      <a:pt x="221" y="538"/>
                    </a:lnTo>
                    <a:lnTo>
                      <a:pt x="195" y="614"/>
                    </a:lnTo>
                    <a:lnTo>
                      <a:pt x="164" y="542"/>
                    </a:lnTo>
                    <a:lnTo>
                      <a:pt x="92" y="596"/>
                    </a:lnTo>
                    <a:lnTo>
                      <a:pt x="104" y="498"/>
                    </a:lnTo>
                    <a:lnTo>
                      <a:pt x="32" y="566"/>
                    </a:lnTo>
                    <a:lnTo>
                      <a:pt x="61" y="480"/>
                    </a:lnTo>
                    <a:lnTo>
                      <a:pt x="0" y="516"/>
                    </a:ln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4" name="Freeform 43">
                <a:extLst>
                  <a:ext uri="{FF2B5EF4-FFF2-40B4-BE49-F238E27FC236}">
                    <a16:creationId xmlns:a16="http://schemas.microsoft.com/office/drawing/2014/main" id="{A4E2543A-C143-B840-9DD5-75EB39EC4F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396413" y="1749425"/>
                <a:ext cx="58738" cy="176213"/>
              </a:xfrm>
              <a:custGeom>
                <a:avLst/>
                <a:gdLst>
                  <a:gd name="T0" fmla="*/ 128 w 202"/>
                  <a:gd name="T1" fmla="*/ 266 h 595"/>
                  <a:gd name="T2" fmla="*/ 0 w 202"/>
                  <a:gd name="T3" fmla="*/ 516 h 595"/>
                  <a:gd name="T4" fmla="*/ 61 w 202"/>
                  <a:gd name="T5" fmla="*/ 480 h 595"/>
                  <a:gd name="T6" fmla="*/ 32 w 202"/>
                  <a:gd name="T7" fmla="*/ 566 h 595"/>
                  <a:gd name="T8" fmla="*/ 104 w 202"/>
                  <a:gd name="T9" fmla="*/ 498 h 595"/>
                  <a:gd name="T10" fmla="*/ 92 w 202"/>
                  <a:gd name="T11" fmla="*/ 595 h 595"/>
                  <a:gd name="T12" fmla="*/ 164 w 202"/>
                  <a:gd name="T13" fmla="*/ 542 h 595"/>
                  <a:gd name="T14" fmla="*/ 193 w 202"/>
                  <a:gd name="T15" fmla="*/ 281 h 595"/>
                  <a:gd name="T16" fmla="*/ 202 w 202"/>
                  <a:gd name="T17" fmla="*/ 26 h 595"/>
                  <a:gd name="T18" fmla="*/ 128 w 202"/>
                  <a:gd name="T19" fmla="*/ 266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2" h="595">
                    <a:moveTo>
                      <a:pt x="128" y="266"/>
                    </a:moveTo>
                    <a:cubicBezTo>
                      <a:pt x="70" y="440"/>
                      <a:pt x="0" y="516"/>
                      <a:pt x="0" y="516"/>
                    </a:cubicBezTo>
                    <a:lnTo>
                      <a:pt x="61" y="480"/>
                    </a:lnTo>
                    <a:lnTo>
                      <a:pt x="32" y="566"/>
                    </a:lnTo>
                    <a:lnTo>
                      <a:pt x="104" y="498"/>
                    </a:lnTo>
                    <a:lnTo>
                      <a:pt x="92" y="595"/>
                    </a:lnTo>
                    <a:lnTo>
                      <a:pt x="164" y="542"/>
                    </a:lnTo>
                    <a:cubicBezTo>
                      <a:pt x="164" y="542"/>
                      <a:pt x="185" y="415"/>
                      <a:pt x="193" y="281"/>
                    </a:cubicBezTo>
                    <a:cubicBezTo>
                      <a:pt x="200" y="168"/>
                      <a:pt x="194" y="46"/>
                      <a:pt x="202" y="26"/>
                    </a:cubicBezTo>
                    <a:cubicBezTo>
                      <a:pt x="178" y="0"/>
                      <a:pt x="171" y="134"/>
                      <a:pt x="128" y="266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5BA85E09-5EC2-E24B-B774-3B335CD634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94838" y="1811338"/>
              <a:ext cx="119063" cy="238125"/>
              <a:chOff x="9494838" y="1811338"/>
              <a:chExt cx="119063" cy="238125"/>
            </a:xfrm>
          </p:grpSpPr>
          <p:sp>
            <p:nvSpPr>
              <p:cNvPr id="119" name="Rectangle 44">
                <a:extLst>
                  <a:ext uri="{FF2B5EF4-FFF2-40B4-BE49-F238E27FC236}">
                    <a16:creationId xmlns:a16="http://schemas.microsoft.com/office/drawing/2014/main" id="{FE6DD21E-C24A-224F-9EF3-400A1CC45A7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9548813" y="1922463"/>
                <a:ext cx="11113" cy="127000"/>
              </a:xfrm>
              <a:prstGeom prst="rect">
                <a:avLst/>
              </a:prstGeom>
              <a:solidFill>
                <a:srgbClr val="664D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0" name="Freeform 45">
                <a:extLst>
                  <a:ext uri="{FF2B5EF4-FFF2-40B4-BE49-F238E27FC236}">
                    <a16:creationId xmlns:a16="http://schemas.microsoft.com/office/drawing/2014/main" id="{A0F9FF38-063A-FE4F-AB56-889DB61527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494838" y="1811338"/>
                <a:ext cx="119063" cy="182563"/>
              </a:xfrm>
              <a:custGeom>
                <a:avLst/>
                <a:gdLst>
                  <a:gd name="T0" fmla="*/ 0 w 407"/>
                  <a:gd name="T1" fmla="*/ 516 h 617"/>
                  <a:gd name="T2" fmla="*/ 128 w 407"/>
                  <a:gd name="T3" fmla="*/ 265 h 617"/>
                  <a:gd name="T4" fmla="*/ 202 w 407"/>
                  <a:gd name="T5" fmla="*/ 25 h 617"/>
                  <a:gd name="T6" fmla="*/ 299 w 407"/>
                  <a:gd name="T7" fmla="*/ 342 h 617"/>
                  <a:gd name="T8" fmla="*/ 407 w 407"/>
                  <a:gd name="T9" fmla="*/ 533 h 617"/>
                  <a:gd name="T10" fmla="*/ 340 w 407"/>
                  <a:gd name="T11" fmla="*/ 503 h 617"/>
                  <a:gd name="T12" fmla="*/ 374 w 407"/>
                  <a:gd name="T13" fmla="*/ 591 h 617"/>
                  <a:gd name="T14" fmla="*/ 282 w 407"/>
                  <a:gd name="T15" fmla="*/ 521 h 617"/>
                  <a:gd name="T16" fmla="*/ 295 w 407"/>
                  <a:gd name="T17" fmla="*/ 617 h 617"/>
                  <a:gd name="T18" fmla="*/ 221 w 407"/>
                  <a:gd name="T19" fmla="*/ 537 h 617"/>
                  <a:gd name="T20" fmla="*/ 195 w 407"/>
                  <a:gd name="T21" fmla="*/ 613 h 617"/>
                  <a:gd name="T22" fmla="*/ 164 w 407"/>
                  <a:gd name="T23" fmla="*/ 542 h 617"/>
                  <a:gd name="T24" fmla="*/ 92 w 407"/>
                  <a:gd name="T25" fmla="*/ 595 h 617"/>
                  <a:gd name="T26" fmla="*/ 104 w 407"/>
                  <a:gd name="T27" fmla="*/ 497 h 617"/>
                  <a:gd name="T28" fmla="*/ 32 w 407"/>
                  <a:gd name="T29" fmla="*/ 565 h 617"/>
                  <a:gd name="T30" fmla="*/ 61 w 407"/>
                  <a:gd name="T31" fmla="*/ 480 h 617"/>
                  <a:gd name="T32" fmla="*/ 0 w 407"/>
                  <a:gd name="T33" fmla="*/ 516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7" h="617">
                    <a:moveTo>
                      <a:pt x="0" y="516"/>
                    </a:moveTo>
                    <a:cubicBezTo>
                      <a:pt x="0" y="516"/>
                      <a:pt x="70" y="439"/>
                      <a:pt x="128" y="265"/>
                    </a:cubicBezTo>
                    <a:cubicBezTo>
                      <a:pt x="171" y="134"/>
                      <a:pt x="178" y="0"/>
                      <a:pt x="202" y="25"/>
                    </a:cubicBezTo>
                    <a:cubicBezTo>
                      <a:pt x="226" y="51"/>
                      <a:pt x="249" y="215"/>
                      <a:pt x="299" y="342"/>
                    </a:cubicBezTo>
                    <a:cubicBezTo>
                      <a:pt x="331" y="425"/>
                      <a:pt x="407" y="533"/>
                      <a:pt x="407" y="533"/>
                    </a:cubicBezTo>
                    <a:lnTo>
                      <a:pt x="340" y="503"/>
                    </a:lnTo>
                    <a:lnTo>
                      <a:pt x="374" y="591"/>
                    </a:lnTo>
                    <a:lnTo>
                      <a:pt x="282" y="521"/>
                    </a:lnTo>
                    <a:lnTo>
                      <a:pt x="295" y="617"/>
                    </a:lnTo>
                    <a:lnTo>
                      <a:pt x="221" y="537"/>
                    </a:lnTo>
                    <a:lnTo>
                      <a:pt x="195" y="613"/>
                    </a:lnTo>
                    <a:lnTo>
                      <a:pt x="164" y="542"/>
                    </a:lnTo>
                    <a:lnTo>
                      <a:pt x="92" y="595"/>
                    </a:lnTo>
                    <a:lnTo>
                      <a:pt x="104" y="497"/>
                    </a:lnTo>
                    <a:lnTo>
                      <a:pt x="32" y="565"/>
                    </a:lnTo>
                    <a:lnTo>
                      <a:pt x="61" y="480"/>
                    </a:lnTo>
                    <a:lnTo>
                      <a:pt x="0" y="516"/>
                    </a:ln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21" name="Freeform 46">
                <a:extLst>
                  <a:ext uri="{FF2B5EF4-FFF2-40B4-BE49-F238E27FC236}">
                    <a16:creationId xmlns:a16="http://schemas.microsoft.com/office/drawing/2014/main" id="{60F04A6D-380E-F54D-A2EB-19B8872DC5D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494838" y="1811338"/>
                <a:ext cx="58738" cy="176213"/>
              </a:xfrm>
              <a:custGeom>
                <a:avLst/>
                <a:gdLst>
                  <a:gd name="T0" fmla="*/ 128 w 202"/>
                  <a:gd name="T1" fmla="*/ 265 h 595"/>
                  <a:gd name="T2" fmla="*/ 0 w 202"/>
                  <a:gd name="T3" fmla="*/ 516 h 595"/>
                  <a:gd name="T4" fmla="*/ 61 w 202"/>
                  <a:gd name="T5" fmla="*/ 480 h 595"/>
                  <a:gd name="T6" fmla="*/ 32 w 202"/>
                  <a:gd name="T7" fmla="*/ 565 h 595"/>
                  <a:gd name="T8" fmla="*/ 104 w 202"/>
                  <a:gd name="T9" fmla="*/ 497 h 595"/>
                  <a:gd name="T10" fmla="*/ 92 w 202"/>
                  <a:gd name="T11" fmla="*/ 595 h 595"/>
                  <a:gd name="T12" fmla="*/ 164 w 202"/>
                  <a:gd name="T13" fmla="*/ 542 h 595"/>
                  <a:gd name="T14" fmla="*/ 193 w 202"/>
                  <a:gd name="T15" fmla="*/ 280 h 595"/>
                  <a:gd name="T16" fmla="*/ 202 w 202"/>
                  <a:gd name="T17" fmla="*/ 25 h 595"/>
                  <a:gd name="T18" fmla="*/ 128 w 202"/>
                  <a:gd name="T19" fmla="*/ 265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2" h="595">
                    <a:moveTo>
                      <a:pt x="128" y="265"/>
                    </a:moveTo>
                    <a:cubicBezTo>
                      <a:pt x="70" y="439"/>
                      <a:pt x="0" y="516"/>
                      <a:pt x="0" y="516"/>
                    </a:cubicBezTo>
                    <a:lnTo>
                      <a:pt x="61" y="480"/>
                    </a:lnTo>
                    <a:lnTo>
                      <a:pt x="32" y="565"/>
                    </a:lnTo>
                    <a:lnTo>
                      <a:pt x="104" y="497"/>
                    </a:lnTo>
                    <a:lnTo>
                      <a:pt x="92" y="595"/>
                    </a:lnTo>
                    <a:lnTo>
                      <a:pt x="164" y="542"/>
                    </a:lnTo>
                    <a:cubicBezTo>
                      <a:pt x="164" y="542"/>
                      <a:pt x="185" y="415"/>
                      <a:pt x="193" y="280"/>
                    </a:cubicBezTo>
                    <a:cubicBezTo>
                      <a:pt x="200" y="168"/>
                      <a:pt x="194" y="46"/>
                      <a:pt x="202" y="25"/>
                    </a:cubicBezTo>
                    <a:cubicBezTo>
                      <a:pt x="178" y="0"/>
                      <a:pt x="171" y="134"/>
                      <a:pt x="128" y="265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sp>
          <p:nvSpPr>
            <p:cNvPr id="83" name="Freeform 48">
              <a:extLst>
                <a:ext uri="{FF2B5EF4-FFF2-40B4-BE49-F238E27FC236}">
                  <a16:creationId xmlns:a16="http://schemas.microsoft.com/office/drawing/2014/main" id="{258E4E09-C375-A74A-901E-AE63D48474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8889" y="1675607"/>
              <a:ext cx="1643625" cy="403225"/>
            </a:xfrm>
            <a:custGeom>
              <a:avLst/>
              <a:gdLst>
                <a:gd name="T0" fmla="*/ 1918 w 4781"/>
                <a:gd name="T1" fmla="*/ 428 h 1369"/>
                <a:gd name="T2" fmla="*/ 785 w 4781"/>
                <a:gd name="T3" fmla="*/ 898 h 1369"/>
                <a:gd name="T4" fmla="*/ 215 w 4781"/>
                <a:gd name="T5" fmla="*/ 1092 h 1369"/>
                <a:gd name="T6" fmla="*/ 0 w 4781"/>
                <a:gd name="T7" fmla="*/ 1369 h 1369"/>
                <a:gd name="T8" fmla="*/ 1422 w 4781"/>
                <a:gd name="T9" fmla="*/ 1360 h 1369"/>
                <a:gd name="T10" fmla="*/ 4781 w 4781"/>
                <a:gd name="T11" fmla="*/ 170 h 1369"/>
                <a:gd name="T12" fmla="*/ 1918 w 4781"/>
                <a:gd name="T13" fmla="*/ 428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81" h="1369">
                  <a:moveTo>
                    <a:pt x="1918" y="428"/>
                  </a:moveTo>
                  <a:cubicBezTo>
                    <a:pt x="1679" y="491"/>
                    <a:pt x="1009" y="808"/>
                    <a:pt x="785" y="898"/>
                  </a:cubicBezTo>
                  <a:cubicBezTo>
                    <a:pt x="586" y="978"/>
                    <a:pt x="215" y="1092"/>
                    <a:pt x="215" y="1092"/>
                  </a:cubicBezTo>
                  <a:lnTo>
                    <a:pt x="0" y="1369"/>
                  </a:lnTo>
                  <a:lnTo>
                    <a:pt x="1422" y="1360"/>
                  </a:lnTo>
                  <a:cubicBezTo>
                    <a:pt x="1422" y="1360"/>
                    <a:pt x="3992" y="678"/>
                    <a:pt x="4781" y="170"/>
                  </a:cubicBezTo>
                  <a:cubicBezTo>
                    <a:pt x="4780" y="170"/>
                    <a:pt x="3525" y="0"/>
                    <a:pt x="1918" y="428"/>
                  </a:cubicBezTo>
                  <a:close/>
                </a:path>
              </a:pathLst>
            </a:custGeom>
            <a:solidFill>
              <a:srgbClr val="9FC4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7A1C974-05ED-FE48-A40E-A0D2006D52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30926" y="627063"/>
              <a:ext cx="3527425" cy="1450975"/>
              <a:chOff x="6130926" y="627063"/>
              <a:chExt cx="3527425" cy="1450975"/>
            </a:xfrm>
          </p:grpSpPr>
          <p:sp>
            <p:nvSpPr>
              <p:cNvPr id="108" name="Freeform 47">
                <a:extLst>
                  <a:ext uri="{FF2B5EF4-FFF2-40B4-BE49-F238E27FC236}">
                    <a16:creationId xmlns:a16="http://schemas.microsoft.com/office/drawing/2014/main" id="{2A24859A-CF7D-E043-A3E6-6A699959123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316913" y="998538"/>
                <a:ext cx="1000125" cy="973138"/>
              </a:xfrm>
              <a:custGeom>
                <a:avLst/>
                <a:gdLst>
                  <a:gd name="T0" fmla="*/ 3387 w 3387"/>
                  <a:gd name="T1" fmla="*/ 3296 h 3296"/>
                  <a:gd name="T2" fmla="*/ 3053 w 3387"/>
                  <a:gd name="T3" fmla="*/ 2310 h 3296"/>
                  <a:gd name="T4" fmla="*/ 2915 w 3387"/>
                  <a:gd name="T5" fmla="*/ 2173 h 3296"/>
                  <a:gd name="T6" fmla="*/ 2712 w 3387"/>
                  <a:gd name="T7" fmla="*/ 1599 h 3296"/>
                  <a:gd name="T8" fmla="*/ 2515 w 3387"/>
                  <a:gd name="T9" fmla="*/ 1599 h 3296"/>
                  <a:gd name="T10" fmla="*/ 2434 w 3387"/>
                  <a:gd name="T11" fmla="*/ 1585 h 3296"/>
                  <a:gd name="T12" fmla="*/ 2396 w 3387"/>
                  <a:gd name="T13" fmla="*/ 1473 h 3296"/>
                  <a:gd name="T14" fmla="*/ 2157 w 3387"/>
                  <a:gd name="T15" fmla="*/ 1138 h 3296"/>
                  <a:gd name="T16" fmla="*/ 1953 w 3387"/>
                  <a:gd name="T17" fmla="*/ 876 h 3296"/>
                  <a:gd name="T18" fmla="*/ 1711 w 3387"/>
                  <a:gd name="T19" fmla="*/ 634 h 3296"/>
                  <a:gd name="T20" fmla="*/ 1398 w 3387"/>
                  <a:gd name="T21" fmla="*/ 321 h 3296"/>
                  <a:gd name="T22" fmla="*/ 1015 w 3387"/>
                  <a:gd name="T23" fmla="*/ 63 h 3296"/>
                  <a:gd name="T24" fmla="*/ 757 w 3387"/>
                  <a:gd name="T25" fmla="*/ 321 h 3296"/>
                  <a:gd name="T26" fmla="*/ 663 w 3387"/>
                  <a:gd name="T27" fmla="*/ 625 h 3296"/>
                  <a:gd name="T28" fmla="*/ 430 w 3387"/>
                  <a:gd name="T29" fmla="*/ 858 h 3296"/>
                  <a:gd name="T30" fmla="*/ 269 w 3387"/>
                  <a:gd name="T31" fmla="*/ 1253 h 3296"/>
                  <a:gd name="T32" fmla="*/ 0 w 3387"/>
                  <a:gd name="T33" fmla="*/ 2400 h 3296"/>
                  <a:gd name="T34" fmla="*/ 448 w 3387"/>
                  <a:gd name="T35" fmla="*/ 3206 h 3296"/>
                  <a:gd name="T36" fmla="*/ 3023 w 3387"/>
                  <a:gd name="T37" fmla="*/ 3209 h 3296"/>
                  <a:gd name="T38" fmla="*/ 3387 w 3387"/>
                  <a:gd name="T39" fmla="*/ 3296 h 3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387" h="3296">
                    <a:moveTo>
                      <a:pt x="3387" y="3296"/>
                    </a:moveTo>
                    <a:cubicBezTo>
                      <a:pt x="3387" y="3296"/>
                      <a:pt x="3124" y="2382"/>
                      <a:pt x="3053" y="2310"/>
                    </a:cubicBezTo>
                    <a:cubicBezTo>
                      <a:pt x="2981" y="2239"/>
                      <a:pt x="2915" y="2173"/>
                      <a:pt x="2915" y="2173"/>
                    </a:cubicBezTo>
                    <a:cubicBezTo>
                      <a:pt x="2915" y="2173"/>
                      <a:pt x="2856" y="1647"/>
                      <a:pt x="2712" y="1599"/>
                    </a:cubicBezTo>
                    <a:cubicBezTo>
                      <a:pt x="2648" y="1578"/>
                      <a:pt x="2635" y="1599"/>
                      <a:pt x="2515" y="1599"/>
                    </a:cubicBezTo>
                    <a:cubicBezTo>
                      <a:pt x="2494" y="1599"/>
                      <a:pt x="2466" y="1594"/>
                      <a:pt x="2434" y="1585"/>
                    </a:cubicBezTo>
                    <a:cubicBezTo>
                      <a:pt x="2412" y="1540"/>
                      <a:pt x="2396" y="1503"/>
                      <a:pt x="2396" y="1473"/>
                    </a:cubicBezTo>
                    <a:cubicBezTo>
                      <a:pt x="2396" y="1371"/>
                      <a:pt x="2157" y="1235"/>
                      <a:pt x="2157" y="1138"/>
                    </a:cubicBezTo>
                    <a:cubicBezTo>
                      <a:pt x="2157" y="1042"/>
                      <a:pt x="2020" y="1114"/>
                      <a:pt x="1953" y="876"/>
                    </a:cubicBezTo>
                    <a:cubicBezTo>
                      <a:pt x="1900" y="684"/>
                      <a:pt x="1900" y="634"/>
                      <a:pt x="1711" y="634"/>
                    </a:cubicBezTo>
                    <a:cubicBezTo>
                      <a:pt x="1523" y="634"/>
                      <a:pt x="1532" y="455"/>
                      <a:pt x="1398" y="321"/>
                    </a:cubicBezTo>
                    <a:cubicBezTo>
                      <a:pt x="1263" y="186"/>
                      <a:pt x="1077" y="0"/>
                      <a:pt x="1015" y="63"/>
                    </a:cubicBezTo>
                    <a:lnTo>
                      <a:pt x="757" y="321"/>
                    </a:lnTo>
                    <a:cubicBezTo>
                      <a:pt x="643" y="435"/>
                      <a:pt x="757" y="531"/>
                      <a:pt x="663" y="625"/>
                    </a:cubicBezTo>
                    <a:lnTo>
                      <a:pt x="430" y="858"/>
                    </a:lnTo>
                    <a:cubicBezTo>
                      <a:pt x="331" y="957"/>
                      <a:pt x="269" y="1253"/>
                      <a:pt x="269" y="1253"/>
                    </a:cubicBezTo>
                    <a:cubicBezTo>
                      <a:pt x="269" y="1253"/>
                      <a:pt x="0" y="2328"/>
                      <a:pt x="0" y="2400"/>
                    </a:cubicBezTo>
                    <a:cubicBezTo>
                      <a:pt x="0" y="2472"/>
                      <a:pt x="358" y="3117"/>
                      <a:pt x="448" y="3206"/>
                    </a:cubicBezTo>
                    <a:cubicBezTo>
                      <a:pt x="528" y="3287"/>
                      <a:pt x="2594" y="3223"/>
                      <a:pt x="3023" y="3209"/>
                    </a:cubicBezTo>
                    <a:lnTo>
                      <a:pt x="3387" y="3296"/>
                    </a:lnTo>
                    <a:close/>
                  </a:path>
                </a:pathLst>
              </a:custGeom>
              <a:solidFill>
                <a:srgbClr val="4949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9" name="Freeform 49">
                <a:extLst>
                  <a:ext uri="{FF2B5EF4-FFF2-40B4-BE49-F238E27FC236}">
                    <a16:creationId xmlns:a16="http://schemas.microsoft.com/office/drawing/2014/main" id="{9E00710F-8C30-AA48-8DBD-BDC9F79A0CD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2888" y="627063"/>
                <a:ext cx="1395413" cy="1373188"/>
              </a:xfrm>
              <a:custGeom>
                <a:avLst/>
                <a:gdLst>
                  <a:gd name="T0" fmla="*/ 0 w 4726"/>
                  <a:gd name="T1" fmla="*/ 1858 h 4654"/>
                  <a:gd name="T2" fmla="*/ 590 w 4726"/>
                  <a:gd name="T3" fmla="*/ 1209 h 4654"/>
                  <a:gd name="T4" fmla="*/ 1266 w 4726"/>
                  <a:gd name="T5" fmla="*/ 0 h 4654"/>
                  <a:gd name="T6" fmla="*/ 1470 w 4726"/>
                  <a:gd name="T7" fmla="*/ 234 h 4654"/>
                  <a:gd name="T8" fmla="*/ 1613 w 4726"/>
                  <a:gd name="T9" fmla="*/ 190 h 4654"/>
                  <a:gd name="T10" fmla="*/ 1828 w 4726"/>
                  <a:gd name="T11" fmla="*/ 615 h 4654"/>
                  <a:gd name="T12" fmla="*/ 2139 w 4726"/>
                  <a:gd name="T13" fmla="*/ 1200 h 4654"/>
                  <a:gd name="T14" fmla="*/ 2402 w 4726"/>
                  <a:gd name="T15" fmla="*/ 1463 h 4654"/>
                  <a:gd name="T16" fmla="*/ 3541 w 4726"/>
                  <a:gd name="T17" fmla="*/ 3033 h 4654"/>
                  <a:gd name="T18" fmla="*/ 4726 w 4726"/>
                  <a:gd name="T19" fmla="*/ 4654 h 4654"/>
                  <a:gd name="T20" fmla="*/ 298 w 4726"/>
                  <a:gd name="T21" fmla="*/ 3029 h 4654"/>
                  <a:gd name="T22" fmla="*/ 0 w 4726"/>
                  <a:gd name="T23" fmla="*/ 1858 h 4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26" h="4654">
                    <a:moveTo>
                      <a:pt x="0" y="1858"/>
                    </a:moveTo>
                    <a:cubicBezTo>
                      <a:pt x="0" y="1858"/>
                      <a:pt x="439" y="1613"/>
                      <a:pt x="590" y="1209"/>
                    </a:cubicBezTo>
                    <a:cubicBezTo>
                      <a:pt x="741" y="805"/>
                      <a:pt x="1135" y="0"/>
                      <a:pt x="1266" y="0"/>
                    </a:cubicBezTo>
                    <a:cubicBezTo>
                      <a:pt x="1398" y="0"/>
                      <a:pt x="1416" y="168"/>
                      <a:pt x="1470" y="234"/>
                    </a:cubicBezTo>
                    <a:cubicBezTo>
                      <a:pt x="1523" y="300"/>
                      <a:pt x="1523" y="80"/>
                      <a:pt x="1613" y="190"/>
                    </a:cubicBezTo>
                    <a:cubicBezTo>
                      <a:pt x="1703" y="300"/>
                      <a:pt x="1726" y="490"/>
                      <a:pt x="1828" y="615"/>
                    </a:cubicBezTo>
                    <a:cubicBezTo>
                      <a:pt x="1930" y="739"/>
                      <a:pt x="1983" y="1200"/>
                      <a:pt x="2139" y="1200"/>
                    </a:cubicBezTo>
                    <a:cubicBezTo>
                      <a:pt x="2294" y="1200"/>
                      <a:pt x="2318" y="1185"/>
                      <a:pt x="2402" y="1463"/>
                    </a:cubicBezTo>
                    <a:cubicBezTo>
                      <a:pt x="2443" y="1600"/>
                      <a:pt x="3319" y="3124"/>
                      <a:pt x="3541" y="3033"/>
                    </a:cubicBezTo>
                    <a:cubicBezTo>
                      <a:pt x="3762" y="2942"/>
                      <a:pt x="4726" y="4654"/>
                      <a:pt x="4726" y="4654"/>
                    </a:cubicBezTo>
                    <a:cubicBezTo>
                      <a:pt x="4726" y="4654"/>
                      <a:pt x="346" y="2970"/>
                      <a:pt x="298" y="3029"/>
                    </a:cubicBezTo>
                    <a:cubicBezTo>
                      <a:pt x="251" y="3087"/>
                      <a:pt x="0" y="1858"/>
                      <a:pt x="0" y="1858"/>
                    </a:cubicBez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0" name="Freeform 50">
                <a:extLst>
                  <a:ext uri="{FF2B5EF4-FFF2-40B4-BE49-F238E27FC236}">
                    <a16:creationId xmlns:a16="http://schemas.microsoft.com/office/drawing/2014/main" id="{D92A54A9-848C-DE4A-B37B-B4F3327143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86638" y="841375"/>
                <a:ext cx="766763" cy="685800"/>
              </a:xfrm>
              <a:custGeom>
                <a:avLst/>
                <a:gdLst>
                  <a:gd name="T0" fmla="*/ 0 w 2596"/>
                  <a:gd name="T1" fmla="*/ 2325 h 2325"/>
                  <a:gd name="T2" fmla="*/ 806 w 2596"/>
                  <a:gd name="T3" fmla="*/ 864 h 2325"/>
                  <a:gd name="T4" fmla="*/ 1242 w 2596"/>
                  <a:gd name="T5" fmla="*/ 154 h 2325"/>
                  <a:gd name="T6" fmla="*/ 1428 w 2596"/>
                  <a:gd name="T7" fmla="*/ 0 h 2325"/>
                  <a:gd name="T8" fmla="*/ 1687 w 2596"/>
                  <a:gd name="T9" fmla="*/ 165 h 2325"/>
                  <a:gd name="T10" fmla="*/ 1935 w 2596"/>
                  <a:gd name="T11" fmla="*/ 304 h 2325"/>
                  <a:gd name="T12" fmla="*/ 2203 w 2596"/>
                  <a:gd name="T13" fmla="*/ 485 h 2325"/>
                  <a:gd name="T14" fmla="*/ 2596 w 2596"/>
                  <a:gd name="T15" fmla="*/ 1792 h 2325"/>
                  <a:gd name="T16" fmla="*/ 0 w 2596"/>
                  <a:gd name="T17" fmla="*/ 2325 h 2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96" h="2325">
                    <a:moveTo>
                      <a:pt x="0" y="2325"/>
                    </a:moveTo>
                    <a:cubicBezTo>
                      <a:pt x="0" y="2325"/>
                      <a:pt x="537" y="1368"/>
                      <a:pt x="806" y="864"/>
                    </a:cubicBezTo>
                    <a:cubicBezTo>
                      <a:pt x="1075" y="359"/>
                      <a:pt x="1183" y="154"/>
                      <a:pt x="1242" y="154"/>
                    </a:cubicBezTo>
                    <a:cubicBezTo>
                      <a:pt x="1302" y="154"/>
                      <a:pt x="1302" y="0"/>
                      <a:pt x="1428" y="0"/>
                    </a:cubicBezTo>
                    <a:cubicBezTo>
                      <a:pt x="1553" y="0"/>
                      <a:pt x="1574" y="26"/>
                      <a:pt x="1687" y="165"/>
                    </a:cubicBezTo>
                    <a:cubicBezTo>
                      <a:pt x="1801" y="304"/>
                      <a:pt x="1816" y="304"/>
                      <a:pt x="1935" y="304"/>
                    </a:cubicBezTo>
                    <a:cubicBezTo>
                      <a:pt x="2055" y="304"/>
                      <a:pt x="2065" y="317"/>
                      <a:pt x="2203" y="485"/>
                    </a:cubicBezTo>
                    <a:cubicBezTo>
                      <a:pt x="2340" y="653"/>
                      <a:pt x="2596" y="1792"/>
                      <a:pt x="2596" y="1792"/>
                    </a:cubicBezTo>
                    <a:lnTo>
                      <a:pt x="0" y="2325"/>
                    </a:lnTo>
                    <a:close/>
                  </a:path>
                </a:pathLst>
              </a:custGeom>
              <a:solidFill>
                <a:srgbClr val="4949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1" name="Freeform 51">
                <a:extLst>
                  <a:ext uri="{FF2B5EF4-FFF2-40B4-BE49-F238E27FC236}">
                    <a16:creationId xmlns:a16="http://schemas.microsoft.com/office/drawing/2014/main" id="{9F437000-E08B-DD41-8854-D7811255D00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16776" y="841375"/>
                <a:ext cx="606425" cy="801688"/>
              </a:xfrm>
              <a:custGeom>
                <a:avLst/>
                <a:gdLst>
                  <a:gd name="T0" fmla="*/ 1607 w 2056"/>
                  <a:gd name="T1" fmla="*/ 1751 h 2720"/>
                  <a:gd name="T2" fmla="*/ 1918 w 2056"/>
                  <a:gd name="T3" fmla="*/ 493 h 2720"/>
                  <a:gd name="T4" fmla="*/ 1990 w 2056"/>
                  <a:gd name="T5" fmla="*/ 244 h 2720"/>
                  <a:gd name="T6" fmla="*/ 2017 w 2056"/>
                  <a:gd name="T7" fmla="*/ 0 h 2720"/>
                  <a:gd name="T8" fmla="*/ 2003 w 2056"/>
                  <a:gd name="T9" fmla="*/ 0 h 2720"/>
                  <a:gd name="T10" fmla="*/ 1817 w 2056"/>
                  <a:gd name="T11" fmla="*/ 154 h 2720"/>
                  <a:gd name="T12" fmla="*/ 1381 w 2056"/>
                  <a:gd name="T13" fmla="*/ 864 h 2720"/>
                  <a:gd name="T14" fmla="*/ 0 w 2056"/>
                  <a:gd name="T15" fmla="*/ 2720 h 2720"/>
                  <a:gd name="T16" fmla="*/ 1595 w 2056"/>
                  <a:gd name="T17" fmla="*/ 2405 h 2720"/>
                  <a:gd name="T18" fmla="*/ 1607 w 2056"/>
                  <a:gd name="T19" fmla="*/ 1751 h 2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6" h="2720">
                    <a:moveTo>
                      <a:pt x="1607" y="1751"/>
                    </a:moveTo>
                    <a:cubicBezTo>
                      <a:pt x="1607" y="1604"/>
                      <a:pt x="1918" y="683"/>
                      <a:pt x="1918" y="493"/>
                    </a:cubicBezTo>
                    <a:cubicBezTo>
                      <a:pt x="1918" y="303"/>
                      <a:pt x="2056" y="325"/>
                      <a:pt x="1990" y="244"/>
                    </a:cubicBezTo>
                    <a:cubicBezTo>
                      <a:pt x="1970" y="220"/>
                      <a:pt x="1986" y="123"/>
                      <a:pt x="2017" y="0"/>
                    </a:cubicBezTo>
                    <a:cubicBezTo>
                      <a:pt x="2012" y="0"/>
                      <a:pt x="2008" y="0"/>
                      <a:pt x="2003" y="0"/>
                    </a:cubicBezTo>
                    <a:cubicBezTo>
                      <a:pt x="1877" y="0"/>
                      <a:pt x="1877" y="154"/>
                      <a:pt x="1817" y="154"/>
                    </a:cubicBezTo>
                    <a:cubicBezTo>
                      <a:pt x="1758" y="154"/>
                      <a:pt x="1650" y="359"/>
                      <a:pt x="1381" y="864"/>
                    </a:cubicBezTo>
                    <a:cubicBezTo>
                      <a:pt x="1112" y="1368"/>
                      <a:pt x="0" y="2720"/>
                      <a:pt x="0" y="2720"/>
                    </a:cubicBezTo>
                    <a:lnTo>
                      <a:pt x="1595" y="2405"/>
                    </a:lnTo>
                    <a:cubicBezTo>
                      <a:pt x="1597" y="2385"/>
                      <a:pt x="1607" y="1766"/>
                      <a:pt x="1607" y="1751"/>
                    </a:cubicBez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2" name="Freeform 52">
                <a:extLst>
                  <a:ext uri="{FF2B5EF4-FFF2-40B4-BE49-F238E27FC236}">
                    <a16:creationId xmlns:a16="http://schemas.microsoft.com/office/drawing/2014/main" id="{231E79FB-BF7A-6B40-893D-3DC634E949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6163" y="639763"/>
                <a:ext cx="858838" cy="944563"/>
              </a:xfrm>
              <a:custGeom>
                <a:avLst/>
                <a:gdLst>
                  <a:gd name="T0" fmla="*/ 2865 w 2906"/>
                  <a:gd name="T1" fmla="*/ 2660 h 3205"/>
                  <a:gd name="T2" fmla="*/ 2722 w 2906"/>
                  <a:gd name="T3" fmla="*/ 1154 h 3205"/>
                  <a:gd name="T4" fmla="*/ 2804 w 2906"/>
                  <a:gd name="T5" fmla="*/ 426 h 3205"/>
                  <a:gd name="T6" fmla="*/ 2778 w 2906"/>
                  <a:gd name="T7" fmla="*/ 0 h 3205"/>
                  <a:gd name="T8" fmla="*/ 2169 w 2906"/>
                  <a:gd name="T9" fmla="*/ 1167 h 3205"/>
                  <a:gd name="T10" fmla="*/ 0 w 2906"/>
                  <a:gd name="T11" fmla="*/ 3205 h 3205"/>
                  <a:gd name="T12" fmla="*/ 1772 w 2906"/>
                  <a:gd name="T13" fmla="*/ 2681 h 3205"/>
                  <a:gd name="T14" fmla="*/ 2271 w 2906"/>
                  <a:gd name="T15" fmla="*/ 2735 h 3205"/>
                  <a:gd name="T16" fmla="*/ 2865 w 2906"/>
                  <a:gd name="T17" fmla="*/ 2660 h 3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06" h="3205">
                    <a:moveTo>
                      <a:pt x="2865" y="2660"/>
                    </a:moveTo>
                    <a:cubicBezTo>
                      <a:pt x="2865" y="2484"/>
                      <a:pt x="2722" y="1480"/>
                      <a:pt x="2722" y="1154"/>
                    </a:cubicBezTo>
                    <a:cubicBezTo>
                      <a:pt x="2722" y="827"/>
                      <a:pt x="2906" y="645"/>
                      <a:pt x="2804" y="426"/>
                    </a:cubicBezTo>
                    <a:cubicBezTo>
                      <a:pt x="2776" y="366"/>
                      <a:pt x="2771" y="205"/>
                      <a:pt x="2778" y="0"/>
                    </a:cubicBezTo>
                    <a:cubicBezTo>
                      <a:pt x="2611" y="171"/>
                      <a:pt x="2299" y="818"/>
                      <a:pt x="2169" y="1167"/>
                    </a:cubicBezTo>
                    <a:cubicBezTo>
                      <a:pt x="2018" y="1571"/>
                      <a:pt x="0" y="3205"/>
                      <a:pt x="0" y="3205"/>
                    </a:cubicBezTo>
                    <a:cubicBezTo>
                      <a:pt x="0" y="3205"/>
                      <a:pt x="1684" y="2334"/>
                      <a:pt x="1772" y="2681"/>
                    </a:cubicBezTo>
                    <a:cubicBezTo>
                      <a:pt x="2023" y="2712"/>
                      <a:pt x="2222" y="2735"/>
                      <a:pt x="2271" y="2735"/>
                    </a:cubicBezTo>
                    <a:cubicBezTo>
                      <a:pt x="2414" y="2735"/>
                      <a:pt x="2865" y="2836"/>
                      <a:pt x="2865" y="2660"/>
                    </a:cubicBez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3" name="Freeform 53">
                <a:extLst>
                  <a:ext uri="{FF2B5EF4-FFF2-40B4-BE49-F238E27FC236}">
                    <a16:creationId xmlns:a16="http://schemas.microsoft.com/office/drawing/2014/main" id="{F18417C3-66E2-5640-9FF2-175041975C5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130926" y="1358900"/>
                <a:ext cx="3340100" cy="719138"/>
              </a:xfrm>
              <a:custGeom>
                <a:avLst/>
                <a:gdLst>
                  <a:gd name="T0" fmla="*/ 1306 w 11316"/>
                  <a:gd name="T1" fmla="*/ 1959 h 2435"/>
                  <a:gd name="T2" fmla="*/ 1961 w 11316"/>
                  <a:gd name="T3" fmla="*/ 1824 h 2435"/>
                  <a:gd name="T4" fmla="*/ 2395 w 11316"/>
                  <a:gd name="T5" fmla="*/ 1587 h 2435"/>
                  <a:gd name="T6" fmla="*/ 3106 w 11316"/>
                  <a:gd name="T7" fmla="*/ 1269 h 2435"/>
                  <a:gd name="T8" fmla="*/ 4278 w 11316"/>
                  <a:gd name="T9" fmla="*/ 416 h 2435"/>
                  <a:gd name="T10" fmla="*/ 4696 w 11316"/>
                  <a:gd name="T11" fmla="*/ 425 h 2435"/>
                  <a:gd name="T12" fmla="*/ 4911 w 11316"/>
                  <a:gd name="T13" fmla="*/ 340 h 2435"/>
                  <a:gd name="T14" fmla="*/ 5353 w 11316"/>
                  <a:gd name="T15" fmla="*/ 188 h 2435"/>
                  <a:gd name="T16" fmla="*/ 5931 w 11316"/>
                  <a:gd name="T17" fmla="*/ 114 h 2435"/>
                  <a:gd name="T18" fmla="*/ 6261 w 11316"/>
                  <a:gd name="T19" fmla="*/ 226 h 2435"/>
                  <a:gd name="T20" fmla="*/ 6548 w 11316"/>
                  <a:gd name="T21" fmla="*/ 122 h 2435"/>
                  <a:gd name="T22" fmla="*/ 7073 w 11316"/>
                  <a:gd name="T23" fmla="*/ 349 h 2435"/>
                  <a:gd name="T24" fmla="*/ 10133 w 11316"/>
                  <a:gd name="T25" fmla="*/ 1752 h 2435"/>
                  <a:gd name="T26" fmla="*/ 11268 w 11316"/>
                  <a:gd name="T27" fmla="*/ 2435 h 2435"/>
                  <a:gd name="T28" fmla="*/ 0 w 11316"/>
                  <a:gd name="T29" fmla="*/ 2432 h 2435"/>
                  <a:gd name="T30" fmla="*/ 573 w 11316"/>
                  <a:gd name="T31" fmla="*/ 2159 h 2435"/>
                  <a:gd name="T32" fmla="*/ 1306 w 11316"/>
                  <a:gd name="T33" fmla="*/ 1959 h 2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16" h="2435">
                    <a:moveTo>
                      <a:pt x="1306" y="1959"/>
                    </a:moveTo>
                    <a:cubicBezTo>
                      <a:pt x="1481" y="1908"/>
                      <a:pt x="1782" y="1879"/>
                      <a:pt x="1961" y="1824"/>
                    </a:cubicBezTo>
                    <a:cubicBezTo>
                      <a:pt x="2138" y="1771"/>
                      <a:pt x="2236" y="1641"/>
                      <a:pt x="2395" y="1587"/>
                    </a:cubicBezTo>
                    <a:cubicBezTo>
                      <a:pt x="2716" y="1477"/>
                      <a:pt x="2981" y="1368"/>
                      <a:pt x="3106" y="1269"/>
                    </a:cubicBezTo>
                    <a:cubicBezTo>
                      <a:pt x="3584" y="890"/>
                      <a:pt x="4110" y="359"/>
                      <a:pt x="4278" y="416"/>
                    </a:cubicBezTo>
                    <a:cubicBezTo>
                      <a:pt x="4445" y="472"/>
                      <a:pt x="4588" y="510"/>
                      <a:pt x="4696" y="425"/>
                    </a:cubicBezTo>
                    <a:cubicBezTo>
                      <a:pt x="4803" y="340"/>
                      <a:pt x="4821" y="411"/>
                      <a:pt x="4911" y="340"/>
                    </a:cubicBezTo>
                    <a:cubicBezTo>
                      <a:pt x="5000" y="269"/>
                      <a:pt x="5162" y="245"/>
                      <a:pt x="5353" y="188"/>
                    </a:cubicBezTo>
                    <a:cubicBezTo>
                      <a:pt x="5544" y="131"/>
                      <a:pt x="5788" y="0"/>
                      <a:pt x="5931" y="114"/>
                    </a:cubicBezTo>
                    <a:cubicBezTo>
                      <a:pt x="6075" y="228"/>
                      <a:pt x="6154" y="226"/>
                      <a:pt x="6261" y="226"/>
                    </a:cubicBezTo>
                    <a:cubicBezTo>
                      <a:pt x="6369" y="226"/>
                      <a:pt x="6381" y="122"/>
                      <a:pt x="6548" y="122"/>
                    </a:cubicBezTo>
                    <a:cubicBezTo>
                      <a:pt x="6715" y="122"/>
                      <a:pt x="6942" y="349"/>
                      <a:pt x="7073" y="349"/>
                    </a:cubicBezTo>
                    <a:cubicBezTo>
                      <a:pt x="7204" y="349"/>
                      <a:pt x="9738" y="1354"/>
                      <a:pt x="10133" y="1752"/>
                    </a:cubicBezTo>
                    <a:cubicBezTo>
                      <a:pt x="10527" y="2151"/>
                      <a:pt x="11316" y="2435"/>
                      <a:pt x="11268" y="2435"/>
                    </a:cubicBezTo>
                    <a:cubicBezTo>
                      <a:pt x="11231" y="2435"/>
                      <a:pt x="0" y="2432"/>
                      <a:pt x="0" y="2432"/>
                    </a:cubicBezTo>
                    <a:lnTo>
                      <a:pt x="573" y="2159"/>
                    </a:lnTo>
                    <a:cubicBezTo>
                      <a:pt x="573" y="2159"/>
                      <a:pt x="673" y="2145"/>
                      <a:pt x="1306" y="1959"/>
                    </a:cubicBezTo>
                    <a:close/>
                  </a:path>
                </a:pathLst>
              </a:custGeom>
              <a:solidFill>
                <a:srgbClr val="748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4" name="Freeform 54">
                <a:extLst>
                  <a:ext uri="{FF2B5EF4-FFF2-40B4-BE49-F238E27FC236}">
                    <a16:creationId xmlns:a16="http://schemas.microsoft.com/office/drawing/2014/main" id="{97DF9BCB-5FDA-AF47-9B3C-19EEA2EC91C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93076" y="627063"/>
                <a:ext cx="331788" cy="258763"/>
              </a:xfrm>
              <a:custGeom>
                <a:avLst/>
                <a:gdLst>
                  <a:gd name="T0" fmla="*/ 587 w 1124"/>
                  <a:gd name="T1" fmla="*/ 839 h 875"/>
                  <a:gd name="T2" fmla="*/ 718 w 1124"/>
                  <a:gd name="T3" fmla="*/ 803 h 875"/>
                  <a:gd name="T4" fmla="*/ 849 w 1124"/>
                  <a:gd name="T5" fmla="*/ 755 h 875"/>
                  <a:gd name="T6" fmla="*/ 993 w 1124"/>
                  <a:gd name="T7" fmla="*/ 755 h 875"/>
                  <a:gd name="T8" fmla="*/ 1124 w 1124"/>
                  <a:gd name="T9" fmla="*/ 777 h 875"/>
                  <a:gd name="T10" fmla="*/ 1048 w 1124"/>
                  <a:gd name="T11" fmla="*/ 615 h 875"/>
                  <a:gd name="T12" fmla="*/ 833 w 1124"/>
                  <a:gd name="T13" fmla="*/ 190 h 875"/>
                  <a:gd name="T14" fmla="*/ 690 w 1124"/>
                  <a:gd name="T15" fmla="*/ 234 h 875"/>
                  <a:gd name="T16" fmla="*/ 486 w 1124"/>
                  <a:gd name="T17" fmla="*/ 0 h 875"/>
                  <a:gd name="T18" fmla="*/ 0 w 1124"/>
                  <a:gd name="T19" fmla="*/ 765 h 875"/>
                  <a:gd name="T20" fmla="*/ 121 w 1124"/>
                  <a:gd name="T21" fmla="*/ 803 h 875"/>
                  <a:gd name="T22" fmla="*/ 228 w 1124"/>
                  <a:gd name="T23" fmla="*/ 791 h 875"/>
                  <a:gd name="T24" fmla="*/ 428 w 1124"/>
                  <a:gd name="T25" fmla="*/ 839 h 875"/>
                  <a:gd name="T26" fmla="*/ 587 w 1124"/>
                  <a:gd name="T27" fmla="*/ 839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24" h="875">
                    <a:moveTo>
                      <a:pt x="587" y="839"/>
                    </a:moveTo>
                    <a:cubicBezTo>
                      <a:pt x="622" y="803"/>
                      <a:pt x="670" y="851"/>
                      <a:pt x="718" y="803"/>
                    </a:cubicBezTo>
                    <a:cubicBezTo>
                      <a:pt x="766" y="755"/>
                      <a:pt x="778" y="755"/>
                      <a:pt x="849" y="755"/>
                    </a:cubicBezTo>
                    <a:lnTo>
                      <a:pt x="993" y="755"/>
                    </a:lnTo>
                    <a:cubicBezTo>
                      <a:pt x="1021" y="755"/>
                      <a:pt x="1072" y="766"/>
                      <a:pt x="1124" y="777"/>
                    </a:cubicBezTo>
                    <a:cubicBezTo>
                      <a:pt x="1100" y="708"/>
                      <a:pt x="1076" y="649"/>
                      <a:pt x="1048" y="615"/>
                    </a:cubicBezTo>
                    <a:cubicBezTo>
                      <a:pt x="946" y="490"/>
                      <a:pt x="923" y="300"/>
                      <a:pt x="833" y="190"/>
                    </a:cubicBezTo>
                    <a:cubicBezTo>
                      <a:pt x="743" y="80"/>
                      <a:pt x="743" y="300"/>
                      <a:pt x="690" y="234"/>
                    </a:cubicBezTo>
                    <a:cubicBezTo>
                      <a:pt x="636" y="168"/>
                      <a:pt x="618" y="0"/>
                      <a:pt x="486" y="0"/>
                    </a:cubicBezTo>
                    <a:cubicBezTo>
                      <a:pt x="395" y="0"/>
                      <a:pt x="175" y="391"/>
                      <a:pt x="0" y="765"/>
                    </a:cubicBezTo>
                    <a:cubicBezTo>
                      <a:pt x="53" y="802"/>
                      <a:pt x="100" y="823"/>
                      <a:pt x="121" y="803"/>
                    </a:cubicBezTo>
                    <a:cubicBezTo>
                      <a:pt x="180" y="743"/>
                      <a:pt x="180" y="743"/>
                      <a:pt x="228" y="791"/>
                    </a:cubicBezTo>
                    <a:cubicBezTo>
                      <a:pt x="276" y="839"/>
                      <a:pt x="428" y="839"/>
                      <a:pt x="428" y="839"/>
                    </a:cubicBezTo>
                    <a:cubicBezTo>
                      <a:pt x="428" y="839"/>
                      <a:pt x="551" y="875"/>
                      <a:pt x="587" y="839"/>
                    </a:cubicBezTo>
                    <a:close/>
                  </a:path>
                </a:pathLst>
              </a:custGeom>
              <a:solidFill>
                <a:srgbClr val="99C6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5" name="Freeform 55">
                <a:extLst>
                  <a:ext uri="{FF2B5EF4-FFF2-40B4-BE49-F238E27FC236}">
                    <a16:creationId xmlns:a16="http://schemas.microsoft.com/office/drawing/2014/main" id="{00AF315F-2E4C-AF40-843A-245C1C7A018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93076" y="639763"/>
                <a:ext cx="149225" cy="234950"/>
              </a:xfrm>
              <a:custGeom>
                <a:avLst/>
                <a:gdLst>
                  <a:gd name="T0" fmla="*/ 419 w 503"/>
                  <a:gd name="T1" fmla="*/ 0 h 797"/>
                  <a:gd name="T2" fmla="*/ 0 w 503"/>
                  <a:gd name="T3" fmla="*/ 723 h 797"/>
                  <a:gd name="T4" fmla="*/ 121 w 503"/>
                  <a:gd name="T5" fmla="*/ 761 h 797"/>
                  <a:gd name="T6" fmla="*/ 228 w 503"/>
                  <a:gd name="T7" fmla="*/ 749 h 797"/>
                  <a:gd name="T8" fmla="*/ 428 w 503"/>
                  <a:gd name="T9" fmla="*/ 797 h 797"/>
                  <a:gd name="T10" fmla="*/ 445 w 503"/>
                  <a:gd name="T11" fmla="*/ 426 h 797"/>
                  <a:gd name="T12" fmla="*/ 419 w 503"/>
                  <a:gd name="T13" fmla="*/ 0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3" h="797">
                    <a:moveTo>
                      <a:pt x="419" y="0"/>
                    </a:moveTo>
                    <a:cubicBezTo>
                      <a:pt x="310" y="111"/>
                      <a:pt x="141" y="422"/>
                      <a:pt x="0" y="723"/>
                    </a:cubicBezTo>
                    <a:cubicBezTo>
                      <a:pt x="53" y="760"/>
                      <a:pt x="100" y="781"/>
                      <a:pt x="121" y="761"/>
                    </a:cubicBezTo>
                    <a:cubicBezTo>
                      <a:pt x="180" y="701"/>
                      <a:pt x="180" y="701"/>
                      <a:pt x="228" y="749"/>
                    </a:cubicBezTo>
                    <a:cubicBezTo>
                      <a:pt x="276" y="797"/>
                      <a:pt x="428" y="797"/>
                      <a:pt x="428" y="797"/>
                    </a:cubicBezTo>
                    <a:cubicBezTo>
                      <a:pt x="469" y="663"/>
                      <a:pt x="503" y="550"/>
                      <a:pt x="445" y="426"/>
                    </a:cubicBezTo>
                    <a:cubicBezTo>
                      <a:pt x="417" y="366"/>
                      <a:pt x="412" y="205"/>
                      <a:pt x="419" y="0"/>
                    </a:cubicBezTo>
                    <a:close/>
                  </a:path>
                </a:pathLst>
              </a:custGeom>
              <a:solidFill>
                <a:srgbClr val="D4E6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6" name="Freeform 56">
                <a:extLst>
                  <a:ext uri="{FF2B5EF4-FFF2-40B4-BE49-F238E27FC236}">
                    <a16:creationId xmlns:a16="http://schemas.microsoft.com/office/drawing/2014/main" id="{101B2868-2D16-9544-A3A6-9391366AEB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35951" y="919163"/>
                <a:ext cx="323850" cy="527050"/>
              </a:xfrm>
              <a:custGeom>
                <a:avLst/>
                <a:gdLst>
                  <a:gd name="T0" fmla="*/ 49 w 1096"/>
                  <a:gd name="T1" fmla="*/ 1791 h 1791"/>
                  <a:gd name="T2" fmla="*/ 246 w 1096"/>
                  <a:gd name="T3" fmla="*/ 1554 h 1791"/>
                  <a:gd name="T4" fmla="*/ 246 w 1096"/>
                  <a:gd name="T5" fmla="*/ 1416 h 1791"/>
                  <a:gd name="T6" fmla="*/ 306 w 1096"/>
                  <a:gd name="T7" fmla="*/ 1315 h 1791"/>
                  <a:gd name="T8" fmla="*/ 365 w 1096"/>
                  <a:gd name="T9" fmla="*/ 1165 h 1791"/>
                  <a:gd name="T10" fmla="*/ 515 w 1096"/>
                  <a:gd name="T11" fmla="*/ 1088 h 1791"/>
                  <a:gd name="T12" fmla="*/ 592 w 1096"/>
                  <a:gd name="T13" fmla="*/ 986 h 1791"/>
                  <a:gd name="T14" fmla="*/ 649 w 1096"/>
                  <a:gd name="T15" fmla="*/ 774 h 1791"/>
                  <a:gd name="T16" fmla="*/ 772 w 1096"/>
                  <a:gd name="T17" fmla="*/ 651 h 1791"/>
                  <a:gd name="T18" fmla="*/ 811 w 1096"/>
                  <a:gd name="T19" fmla="*/ 439 h 1791"/>
                  <a:gd name="T20" fmla="*/ 1041 w 1096"/>
                  <a:gd name="T21" fmla="*/ 353 h 1791"/>
                  <a:gd name="T22" fmla="*/ 1096 w 1096"/>
                  <a:gd name="T23" fmla="*/ 349 h 1791"/>
                  <a:gd name="T24" fmla="*/ 875 w 1096"/>
                  <a:gd name="T25" fmla="*/ 212 h 1791"/>
                  <a:gd name="T26" fmla="*/ 711 w 1096"/>
                  <a:gd name="T27" fmla="*/ 0 h 1791"/>
                  <a:gd name="T28" fmla="*/ 670 w 1096"/>
                  <a:gd name="T29" fmla="*/ 191 h 1791"/>
                  <a:gd name="T30" fmla="*/ 754 w 1096"/>
                  <a:gd name="T31" fmla="*/ 311 h 1791"/>
                  <a:gd name="T32" fmla="*/ 580 w 1096"/>
                  <a:gd name="T33" fmla="*/ 508 h 1791"/>
                  <a:gd name="T34" fmla="*/ 455 w 1096"/>
                  <a:gd name="T35" fmla="*/ 938 h 1791"/>
                  <a:gd name="T36" fmla="*/ 174 w 1096"/>
                  <a:gd name="T37" fmla="*/ 1058 h 1791"/>
                  <a:gd name="T38" fmla="*/ 91 w 1096"/>
                  <a:gd name="T39" fmla="*/ 1380 h 1791"/>
                  <a:gd name="T40" fmla="*/ 73 w 1096"/>
                  <a:gd name="T41" fmla="*/ 1601 h 1791"/>
                  <a:gd name="T42" fmla="*/ 0 w 1096"/>
                  <a:gd name="T43" fmla="*/ 1776 h 1791"/>
                  <a:gd name="T44" fmla="*/ 49 w 1096"/>
                  <a:gd name="T45" fmla="*/ 1791 h 1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96" h="1791">
                    <a:moveTo>
                      <a:pt x="49" y="1791"/>
                    </a:moveTo>
                    <a:lnTo>
                      <a:pt x="246" y="1554"/>
                    </a:lnTo>
                    <a:lnTo>
                      <a:pt x="246" y="1416"/>
                    </a:lnTo>
                    <a:cubicBezTo>
                      <a:pt x="246" y="1416"/>
                      <a:pt x="276" y="1315"/>
                      <a:pt x="306" y="1315"/>
                    </a:cubicBezTo>
                    <a:cubicBezTo>
                      <a:pt x="336" y="1315"/>
                      <a:pt x="339" y="1192"/>
                      <a:pt x="365" y="1165"/>
                    </a:cubicBezTo>
                    <a:cubicBezTo>
                      <a:pt x="392" y="1138"/>
                      <a:pt x="413" y="1088"/>
                      <a:pt x="515" y="1088"/>
                    </a:cubicBezTo>
                    <a:cubicBezTo>
                      <a:pt x="616" y="1088"/>
                      <a:pt x="592" y="1010"/>
                      <a:pt x="592" y="986"/>
                    </a:cubicBezTo>
                    <a:cubicBezTo>
                      <a:pt x="592" y="962"/>
                      <a:pt x="649" y="849"/>
                      <a:pt x="649" y="774"/>
                    </a:cubicBezTo>
                    <a:cubicBezTo>
                      <a:pt x="649" y="699"/>
                      <a:pt x="718" y="705"/>
                      <a:pt x="772" y="651"/>
                    </a:cubicBezTo>
                    <a:cubicBezTo>
                      <a:pt x="825" y="598"/>
                      <a:pt x="811" y="544"/>
                      <a:pt x="811" y="439"/>
                    </a:cubicBezTo>
                    <a:cubicBezTo>
                      <a:pt x="811" y="335"/>
                      <a:pt x="897" y="353"/>
                      <a:pt x="1041" y="353"/>
                    </a:cubicBezTo>
                    <a:cubicBezTo>
                      <a:pt x="1061" y="353"/>
                      <a:pt x="1079" y="351"/>
                      <a:pt x="1096" y="349"/>
                    </a:cubicBezTo>
                    <a:cubicBezTo>
                      <a:pt x="1040" y="202"/>
                      <a:pt x="1001" y="212"/>
                      <a:pt x="875" y="212"/>
                    </a:cubicBezTo>
                    <a:cubicBezTo>
                      <a:pt x="804" y="212"/>
                      <a:pt x="754" y="116"/>
                      <a:pt x="711" y="0"/>
                    </a:cubicBezTo>
                    <a:cubicBezTo>
                      <a:pt x="708" y="78"/>
                      <a:pt x="699" y="163"/>
                      <a:pt x="670" y="191"/>
                    </a:cubicBezTo>
                    <a:cubicBezTo>
                      <a:pt x="619" y="242"/>
                      <a:pt x="772" y="293"/>
                      <a:pt x="754" y="311"/>
                    </a:cubicBezTo>
                    <a:cubicBezTo>
                      <a:pt x="736" y="329"/>
                      <a:pt x="580" y="508"/>
                      <a:pt x="580" y="508"/>
                    </a:cubicBezTo>
                    <a:lnTo>
                      <a:pt x="455" y="938"/>
                    </a:lnTo>
                    <a:lnTo>
                      <a:pt x="174" y="1058"/>
                    </a:lnTo>
                    <a:lnTo>
                      <a:pt x="91" y="1380"/>
                    </a:lnTo>
                    <a:cubicBezTo>
                      <a:pt x="91" y="1380"/>
                      <a:pt x="91" y="1583"/>
                      <a:pt x="73" y="1601"/>
                    </a:cubicBezTo>
                    <a:cubicBezTo>
                      <a:pt x="63" y="1611"/>
                      <a:pt x="29" y="1698"/>
                      <a:pt x="0" y="1776"/>
                    </a:cubicBezTo>
                    <a:cubicBezTo>
                      <a:pt x="16" y="1781"/>
                      <a:pt x="32" y="1786"/>
                      <a:pt x="49" y="1791"/>
                    </a:cubicBezTo>
                    <a:close/>
                  </a:path>
                </a:pathLst>
              </a:custGeom>
              <a:solidFill>
                <a:srgbClr val="4949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7" name="Freeform 57">
                <a:extLst>
                  <a:ext uri="{FF2B5EF4-FFF2-40B4-BE49-F238E27FC236}">
                    <a16:creationId xmlns:a16="http://schemas.microsoft.com/office/drawing/2014/main" id="{7B66CFD0-4F17-024D-8D56-D0D8B0C7043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65976" y="1422400"/>
                <a:ext cx="812800" cy="654050"/>
              </a:xfrm>
              <a:custGeom>
                <a:avLst/>
                <a:gdLst>
                  <a:gd name="T0" fmla="*/ 0 w 2753"/>
                  <a:gd name="T1" fmla="*/ 2217 h 2217"/>
                  <a:gd name="T2" fmla="*/ 1219 w 2753"/>
                  <a:gd name="T3" fmla="*/ 1248 h 2217"/>
                  <a:gd name="T4" fmla="*/ 1533 w 2753"/>
                  <a:gd name="T5" fmla="*/ 835 h 2217"/>
                  <a:gd name="T6" fmla="*/ 1622 w 2753"/>
                  <a:gd name="T7" fmla="*/ 495 h 2217"/>
                  <a:gd name="T8" fmla="*/ 1421 w 2753"/>
                  <a:gd name="T9" fmla="*/ 365 h 2217"/>
                  <a:gd name="T10" fmla="*/ 1723 w 2753"/>
                  <a:gd name="T11" fmla="*/ 285 h 2217"/>
                  <a:gd name="T12" fmla="*/ 1981 w 2753"/>
                  <a:gd name="T13" fmla="*/ 217 h 2217"/>
                  <a:gd name="T14" fmla="*/ 2295 w 2753"/>
                  <a:gd name="T15" fmla="*/ 127 h 2217"/>
                  <a:gd name="T16" fmla="*/ 2483 w 2753"/>
                  <a:gd name="T17" fmla="*/ 48 h 2217"/>
                  <a:gd name="T18" fmla="*/ 2568 w 2753"/>
                  <a:gd name="T19" fmla="*/ 0 h 2217"/>
                  <a:gd name="T20" fmla="*/ 2753 w 2753"/>
                  <a:gd name="T21" fmla="*/ 10 h 2217"/>
                  <a:gd name="T22" fmla="*/ 2635 w 2753"/>
                  <a:gd name="T23" fmla="*/ 208 h 2217"/>
                  <a:gd name="T24" fmla="*/ 2277 w 2753"/>
                  <a:gd name="T25" fmla="*/ 647 h 2217"/>
                  <a:gd name="T26" fmla="*/ 2236 w 2753"/>
                  <a:gd name="T27" fmla="*/ 759 h 2217"/>
                  <a:gd name="T28" fmla="*/ 2035 w 2753"/>
                  <a:gd name="T29" fmla="*/ 961 h 2217"/>
                  <a:gd name="T30" fmla="*/ 1820 w 2753"/>
                  <a:gd name="T31" fmla="*/ 1092 h 2217"/>
                  <a:gd name="T32" fmla="*/ 1652 w 2753"/>
                  <a:gd name="T33" fmla="*/ 1267 h 2217"/>
                  <a:gd name="T34" fmla="*/ 994 w 2753"/>
                  <a:gd name="T35" fmla="*/ 2217 h 2217"/>
                  <a:gd name="T36" fmla="*/ 0 w 2753"/>
                  <a:gd name="T37" fmla="*/ 2217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53" h="2217">
                    <a:moveTo>
                      <a:pt x="0" y="2217"/>
                    </a:moveTo>
                    <a:cubicBezTo>
                      <a:pt x="0" y="2217"/>
                      <a:pt x="1031" y="1328"/>
                      <a:pt x="1219" y="1248"/>
                    </a:cubicBezTo>
                    <a:cubicBezTo>
                      <a:pt x="1407" y="1167"/>
                      <a:pt x="1533" y="934"/>
                      <a:pt x="1533" y="835"/>
                    </a:cubicBezTo>
                    <a:cubicBezTo>
                      <a:pt x="1533" y="737"/>
                      <a:pt x="1712" y="513"/>
                      <a:pt x="1622" y="495"/>
                    </a:cubicBezTo>
                    <a:cubicBezTo>
                      <a:pt x="1533" y="477"/>
                      <a:pt x="1309" y="432"/>
                      <a:pt x="1421" y="365"/>
                    </a:cubicBezTo>
                    <a:cubicBezTo>
                      <a:pt x="1533" y="298"/>
                      <a:pt x="1640" y="367"/>
                      <a:pt x="1723" y="285"/>
                    </a:cubicBezTo>
                    <a:cubicBezTo>
                      <a:pt x="1805" y="202"/>
                      <a:pt x="1802" y="217"/>
                      <a:pt x="1981" y="217"/>
                    </a:cubicBezTo>
                    <a:cubicBezTo>
                      <a:pt x="2160" y="217"/>
                      <a:pt x="2186" y="127"/>
                      <a:pt x="2295" y="127"/>
                    </a:cubicBezTo>
                    <a:cubicBezTo>
                      <a:pt x="2403" y="127"/>
                      <a:pt x="2429" y="48"/>
                      <a:pt x="2483" y="48"/>
                    </a:cubicBezTo>
                    <a:cubicBezTo>
                      <a:pt x="2536" y="48"/>
                      <a:pt x="2568" y="0"/>
                      <a:pt x="2568" y="0"/>
                    </a:cubicBezTo>
                    <a:lnTo>
                      <a:pt x="2753" y="10"/>
                    </a:lnTo>
                    <a:cubicBezTo>
                      <a:pt x="2753" y="10"/>
                      <a:pt x="2698" y="145"/>
                      <a:pt x="2635" y="208"/>
                    </a:cubicBezTo>
                    <a:cubicBezTo>
                      <a:pt x="2572" y="271"/>
                      <a:pt x="2205" y="647"/>
                      <a:pt x="2277" y="647"/>
                    </a:cubicBezTo>
                    <a:cubicBezTo>
                      <a:pt x="2348" y="647"/>
                      <a:pt x="2290" y="705"/>
                      <a:pt x="2236" y="759"/>
                    </a:cubicBezTo>
                    <a:cubicBezTo>
                      <a:pt x="2183" y="813"/>
                      <a:pt x="2133" y="961"/>
                      <a:pt x="2035" y="961"/>
                    </a:cubicBezTo>
                    <a:cubicBezTo>
                      <a:pt x="1936" y="961"/>
                      <a:pt x="1838" y="1089"/>
                      <a:pt x="1820" y="1092"/>
                    </a:cubicBezTo>
                    <a:cubicBezTo>
                      <a:pt x="1802" y="1095"/>
                      <a:pt x="1676" y="1226"/>
                      <a:pt x="1652" y="1267"/>
                    </a:cubicBezTo>
                    <a:cubicBezTo>
                      <a:pt x="1627" y="1308"/>
                      <a:pt x="994" y="2217"/>
                      <a:pt x="994" y="2217"/>
                    </a:cubicBezTo>
                    <a:lnTo>
                      <a:pt x="0" y="2217"/>
                    </a:lnTo>
                    <a:close/>
                  </a:path>
                </a:pathLst>
              </a:custGeom>
              <a:solidFill>
                <a:srgbClr val="AD84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18" name="Freeform 58">
                <a:extLst>
                  <a:ext uri="{FF2B5EF4-FFF2-40B4-BE49-F238E27FC236}">
                    <a16:creationId xmlns:a16="http://schemas.microsoft.com/office/drawing/2014/main" id="{DE8CEEEB-0B2F-164D-B235-0508BB5198D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78751" y="1435100"/>
                <a:ext cx="1879600" cy="642938"/>
              </a:xfrm>
              <a:custGeom>
                <a:avLst/>
                <a:gdLst>
                  <a:gd name="T0" fmla="*/ 5895 w 6366"/>
                  <a:gd name="T1" fmla="*/ 1884 h 2176"/>
                  <a:gd name="T2" fmla="*/ 5173 w 6366"/>
                  <a:gd name="T3" fmla="*/ 1579 h 2176"/>
                  <a:gd name="T4" fmla="*/ 4549 w 6366"/>
                  <a:gd name="T5" fmla="*/ 1493 h 2176"/>
                  <a:gd name="T6" fmla="*/ 3432 w 6366"/>
                  <a:gd name="T7" fmla="*/ 604 h 2176"/>
                  <a:gd name="T8" fmla="*/ 2864 w 6366"/>
                  <a:gd name="T9" fmla="*/ 261 h 2176"/>
                  <a:gd name="T10" fmla="*/ 2553 w 6366"/>
                  <a:gd name="T11" fmla="*/ 261 h 2176"/>
                  <a:gd name="T12" fmla="*/ 2242 w 6366"/>
                  <a:gd name="T13" fmla="*/ 128 h 2176"/>
                  <a:gd name="T14" fmla="*/ 1752 w 6366"/>
                  <a:gd name="T15" fmla="*/ 62 h 2176"/>
                  <a:gd name="T16" fmla="*/ 1451 w 6366"/>
                  <a:gd name="T17" fmla="*/ 0 h 2176"/>
                  <a:gd name="T18" fmla="*/ 1278 w 6366"/>
                  <a:gd name="T19" fmla="*/ 251 h 2176"/>
                  <a:gd name="T20" fmla="*/ 969 w 6366"/>
                  <a:gd name="T21" fmla="*/ 579 h 2176"/>
                  <a:gd name="T22" fmla="*/ 806 w 6366"/>
                  <a:gd name="T23" fmla="*/ 1061 h 2176"/>
                  <a:gd name="T24" fmla="*/ 475 w 6366"/>
                  <a:gd name="T25" fmla="*/ 1393 h 2176"/>
                  <a:gd name="T26" fmla="*/ 0 w 6366"/>
                  <a:gd name="T27" fmla="*/ 2176 h 2176"/>
                  <a:gd name="T28" fmla="*/ 6345 w 6366"/>
                  <a:gd name="T29" fmla="*/ 2176 h 2176"/>
                  <a:gd name="T30" fmla="*/ 5895 w 6366"/>
                  <a:gd name="T31" fmla="*/ 1884 h 2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366" h="2176">
                    <a:moveTo>
                      <a:pt x="5895" y="1884"/>
                    </a:moveTo>
                    <a:cubicBezTo>
                      <a:pt x="5812" y="1776"/>
                      <a:pt x="5363" y="1719"/>
                      <a:pt x="5173" y="1579"/>
                    </a:cubicBezTo>
                    <a:cubicBezTo>
                      <a:pt x="5097" y="1523"/>
                      <a:pt x="4610" y="1556"/>
                      <a:pt x="4549" y="1493"/>
                    </a:cubicBezTo>
                    <a:cubicBezTo>
                      <a:pt x="4154" y="1095"/>
                      <a:pt x="3432" y="604"/>
                      <a:pt x="3432" y="604"/>
                    </a:cubicBezTo>
                    <a:cubicBezTo>
                      <a:pt x="3432" y="604"/>
                      <a:pt x="2941" y="199"/>
                      <a:pt x="2864" y="261"/>
                    </a:cubicBezTo>
                    <a:cubicBezTo>
                      <a:pt x="2786" y="322"/>
                      <a:pt x="2720" y="261"/>
                      <a:pt x="2553" y="261"/>
                    </a:cubicBezTo>
                    <a:cubicBezTo>
                      <a:pt x="2386" y="261"/>
                      <a:pt x="2332" y="199"/>
                      <a:pt x="2242" y="128"/>
                    </a:cubicBezTo>
                    <a:cubicBezTo>
                      <a:pt x="2153" y="57"/>
                      <a:pt x="1908" y="62"/>
                      <a:pt x="1752" y="62"/>
                    </a:cubicBezTo>
                    <a:cubicBezTo>
                      <a:pt x="1621" y="62"/>
                      <a:pt x="1549" y="14"/>
                      <a:pt x="1451" y="0"/>
                    </a:cubicBezTo>
                    <a:cubicBezTo>
                      <a:pt x="1337" y="34"/>
                      <a:pt x="1278" y="251"/>
                      <a:pt x="1278" y="251"/>
                    </a:cubicBezTo>
                    <a:lnTo>
                      <a:pt x="969" y="579"/>
                    </a:lnTo>
                    <a:cubicBezTo>
                      <a:pt x="969" y="579"/>
                      <a:pt x="887" y="981"/>
                      <a:pt x="806" y="1061"/>
                    </a:cubicBezTo>
                    <a:lnTo>
                      <a:pt x="475" y="1393"/>
                    </a:lnTo>
                    <a:cubicBezTo>
                      <a:pt x="357" y="1511"/>
                      <a:pt x="140" y="1974"/>
                      <a:pt x="0" y="2176"/>
                    </a:cubicBezTo>
                    <a:lnTo>
                      <a:pt x="6345" y="2176"/>
                    </a:lnTo>
                    <a:cubicBezTo>
                      <a:pt x="6366" y="2176"/>
                      <a:pt x="5991" y="2010"/>
                      <a:pt x="5895" y="1884"/>
                    </a:cubicBezTo>
                    <a:close/>
                  </a:path>
                </a:pathLst>
              </a:custGeom>
              <a:solidFill>
                <a:srgbClr val="5566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8BF366A8-88E8-6E4E-923E-37FB58BF44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38926" y="644525"/>
              <a:ext cx="1868632" cy="1460501"/>
              <a:chOff x="6638926" y="644525"/>
              <a:chExt cx="1868632" cy="1460501"/>
            </a:xfrm>
          </p:grpSpPr>
          <p:sp>
            <p:nvSpPr>
              <p:cNvPr id="100" name="Freeform 59">
                <a:extLst>
                  <a:ext uri="{FF2B5EF4-FFF2-40B4-BE49-F238E27FC236}">
                    <a16:creationId xmlns:a16="http://schemas.microsoft.com/office/drawing/2014/main" id="{A53315FD-9FDC-5E40-832C-68AAA2AF1AC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638926" y="668338"/>
                <a:ext cx="1847850" cy="1436688"/>
              </a:xfrm>
              <a:custGeom>
                <a:avLst/>
                <a:gdLst>
                  <a:gd name="T0" fmla="*/ 0 w 6263"/>
                  <a:gd name="T1" fmla="*/ 4870 h 4870"/>
                  <a:gd name="T2" fmla="*/ 1360 w 6263"/>
                  <a:gd name="T3" fmla="*/ 4058 h 4870"/>
                  <a:gd name="T4" fmla="*/ 3197 w 6263"/>
                  <a:gd name="T5" fmla="*/ 3851 h 4870"/>
                  <a:gd name="T6" fmla="*/ 4446 w 6263"/>
                  <a:gd name="T7" fmla="*/ 2594 h 4870"/>
                  <a:gd name="T8" fmla="*/ 5662 w 6263"/>
                  <a:gd name="T9" fmla="*/ 2116 h 4870"/>
                  <a:gd name="T10" fmla="*/ 6263 w 6263"/>
                  <a:gd name="T11" fmla="*/ 1045 h 4870"/>
                  <a:gd name="T12" fmla="*/ 5663 w 6263"/>
                  <a:gd name="T13" fmla="*/ 674 h 4870"/>
                  <a:gd name="T14" fmla="*/ 5466 w 6263"/>
                  <a:gd name="T15" fmla="*/ 0 h 4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263" h="4870">
                    <a:moveTo>
                      <a:pt x="0" y="4870"/>
                    </a:moveTo>
                    <a:lnTo>
                      <a:pt x="1360" y="4058"/>
                    </a:lnTo>
                    <a:lnTo>
                      <a:pt x="3197" y="3851"/>
                    </a:lnTo>
                    <a:lnTo>
                      <a:pt x="4446" y="2594"/>
                    </a:lnTo>
                    <a:lnTo>
                      <a:pt x="5662" y="2116"/>
                    </a:lnTo>
                    <a:lnTo>
                      <a:pt x="6263" y="1045"/>
                    </a:lnTo>
                    <a:lnTo>
                      <a:pt x="5663" y="674"/>
                    </a:lnTo>
                    <a:lnTo>
                      <a:pt x="5466" y="0"/>
                    </a:lnTo>
                  </a:path>
                </a:pathLst>
              </a:custGeom>
              <a:noFill/>
              <a:ln w="28575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1" name="Oval 60">
                <a:extLst>
                  <a:ext uri="{FF2B5EF4-FFF2-40B4-BE49-F238E27FC236}">
                    <a16:creationId xmlns:a16="http://schemas.microsoft.com/office/drawing/2014/main" id="{60609BE1-E5F0-5747-8991-9A0CCB87FD4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459933" y="952500"/>
                <a:ext cx="47625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2" name="Oval 61">
                <a:extLst>
                  <a:ext uri="{FF2B5EF4-FFF2-40B4-BE49-F238E27FC236}">
                    <a16:creationId xmlns:a16="http://schemas.microsoft.com/office/drawing/2014/main" id="{8713FD05-3800-7640-960E-F5E239D6B82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285163" y="1268413"/>
                <a:ext cx="47625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3" name="Oval 62">
                <a:extLst>
                  <a:ext uri="{FF2B5EF4-FFF2-40B4-BE49-F238E27FC236}">
                    <a16:creationId xmlns:a16="http://schemas.microsoft.com/office/drawing/2014/main" id="{CD6EB180-7ACA-6D4F-A204-6F2CFB0FA9ED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7927976" y="1409700"/>
                <a:ext cx="46038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4" name="Oval 63">
                <a:extLst>
                  <a:ext uri="{FF2B5EF4-FFF2-40B4-BE49-F238E27FC236}">
                    <a16:creationId xmlns:a16="http://schemas.microsoft.com/office/drawing/2014/main" id="{176BDA6F-1D9C-E343-BFA3-8A96DB8DFBB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7558088" y="1781175"/>
                <a:ext cx="47625" cy="4603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5" name="Oval 64">
                <a:extLst>
                  <a:ext uri="{FF2B5EF4-FFF2-40B4-BE49-F238E27FC236}">
                    <a16:creationId xmlns:a16="http://schemas.microsoft.com/office/drawing/2014/main" id="{C2A8D153-5CE3-484C-B197-B6E87D5487E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7015163" y="1838325"/>
                <a:ext cx="47625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6" name="Oval 65">
                <a:extLst>
                  <a:ext uri="{FF2B5EF4-FFF2-40B4-BE49-F238E27FC236}">
                    <a16:creationId xmlns:a16="http://schemas.microsoft.com/office/drawing/2014/main" id="{BB4FD422-1DC7-9045-A9D9-A1433D1FC9D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228013" y="644525"/>
                <a:ext cx="47625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107" name="Oval 66">
                <a:extLst>
                  <a:ext uri="{FF2B5EF4-FFF2-40B4-BE49-F238E27FC236}">
                    <a16:creationId xmlns:a16="http://schemas.microsoft.com/office/drawing/2014/main" id="{45431807-BE7B-554C-80C2-9CE1230F36F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286751" y="842963"/>
                <a:ext cx="46038" cy="4762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2ECCC1E1-42CB-164F-BECB-4FA658EDE8E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59601" y="1516063"/>
              <a:ext cx="179388" cy="203200"/>
              <a:chOff x="6959601" y="1516063"/>
              <a:chExt cx="179388" cy="203200"/>
            </a:xfrm>
          </p:grpSpPr>
          <p:sp>
            <p:nvSpPr>
              <p:cNvPr id="97" name="Freeform 67">
                <a:extLst>
                  <a:ext uri="{FF2B5EF4-FFF2-40B4-BE49-F238E27FC236}">
                    <a16:creationId xmlns:a16="http://schemas.microsoft.com/office/drawing/2014/main" id="{9DB42A7D-0424-D548-ABAD-9ECB18EA326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031038" y="1614488"/>
                <a:ext cx="44450" cy="104775"/>
              </a:xfrm>
              <a:custGeom>
                <a:avLst/>
                <a:gdLst>
                  <a:gd name="T0" fmla="*/ 84 w 150"/>
                  <a:gd name="T1" fmla="*/ 117 h 355"/>
                  <a:gd name="T2" fmla="*/ 101 w 150"/>
                  <a:gd name="T3" fmla="*/ 355 h 355"/>
                  <a:gd name="T4" fmla="*/ 32 w 150"/>
                  <a:gd name="T5" fmla="*/ 355 h 355"/>
                  <a:gd name="T6" fmla="*/ 42 w 150"/>
                  <a:gd name="T7" fmla="*/ 106 h 355"/>
                  <a:gd name="T8" fmla="*/ 0 w 150"/>
                  <a:gd name="T9" fmla="*/ 0 h 355"/>
                  <a:gd name="T10" fmla="*/ 67 w 150"/>
                  <a:gd name="T11" fmla="*/ 83 h 355"/>
                  <a:gd name="T12" fmla="*/ 150 w 150"/>
                  <a:gd name="T13" fmla="*/ 0 h 355"/>
                  <a:gd name="T14" fmla="*/ 84 w 150"/>
                  <a:gd name="T15" fmla="*/ 11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0" h="355">
                    <a:moveTo>
                      <a:pt x="84" y="117"/>
                    </a:moveTo>
                    <a:lnTo>
                      <a:pt x="101" y="355"/>
                    </a:lnTo>
                    <a:lnTo>
                      <a:pt x="32" y="355"/>
                    </a:lnTo>
                    <a:lnTo>
                      <a:pt x="42" y="106"/>
                    </a:lnTo>
                    <a:lnTo>
                      <a:pt x="0" y="0"/>
                    </a:lnTo>
                    <a:lnTo>
                      <a:pt x="67" y="83"/>
                    </a:lnTo>
                    <a:lnTo>
                      <a:pt x="150" y="0"/>
                    </a:lnTo>
                    <a:lnTo>
                      <a:pt x="84" y="117"/>
                    </a:lnTo>
                    <a:close/>
                  </a:path>
                </a:pathLst>
              </a:custGeom>
              <a:solidFill>
                <a:srgbClr val="9E6E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8" name="Freeform 68">
                <a:extLst>
                  <a:ext uri="{FF2B5EF4-FFF2-40B4-BE49-F238E27FC236}">
                    <a16:creationId xmlns:a16="http://schemas.microsoft.com/office/drawing/2014/main" id="{4784C490-49A6-0B4B-9B59-E108A34E1C5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59601" y="1516063"/>
                <a:ext cx="179388" cy="157163"/>
              </a:xfrm>
              <a:custGeom>
                <a:avLst/>
                <a:gdLst>
                  <a:gd name="T0" fmla="*/ 573 w 610"/>
                  <a:gd name="T1" fmla="*/ 364 h 534"/>
                  <a:gd name="T2" fmla="*/ 536 w 610"/>
                  <a:gd name="T3" fmla="*/ 298 h 534"/>
                  <a:gd name="T4" fmla="*/ 541 w 610"/>
                  <a:gd name="T5" fmla="*/ 250 h 534"/>
                  <a:gd name="T6" fmla="*/ 497 w 610"/>
                  <a:gd name="T7" fmla="*/ 189 h 534"/>
                  <a:gd name="T8" fmla="*/ 471 w 610"/>
                  <a:gd name="T9" fmla="*/ 109 h 534"/>
                  <a:gd name="T10" fmla="*/ 400 w 610"/>
                  <a:gd name="T11" fmla="*/ 80 h 534"/>
                  <a:gd name="T12" fmla="*/ 296 w 610"/>
                  <a:gd name="T13" fmla="*/ 0 h 534"/>
                  <a:gd name="T14" fmla="*/ 199 w 610"/>
                  <a:gd name="T15" fmla="*/ 64 h 534"/>
                  <a:gd name="T16" fmla="*/ 125 w 610"/>
                  <a:gd name="T17" fmla="*/ 101 h 534"/>
                  <a:gd name="T18" fmla="*/ 113 w 610"/>
                  <a:gd name="T19" fmla="*/ 184 h 534"/>
                  <a:gd name="T20" fmla="*/ 80 w 610"/>
                  <a:gd name="T21" fmla="*/ 268 h 534"/>
                  <a:gd name="T22" fmla="*/ 81 w 610"/>
                  <a:gd name="T23" fmla="*/ 279 h 534"/>
                  <a:gd name="T24" fmla="*/ 13 w 610"/>
                  <a:gd name="T25" fmla="*/ 339 h 534"/>
                  <a:gd name="T26" fmla="*/ 50 w 610"/>
                  <a:gd name="T27" fmla="*/ 428 h 534"/>
                  <a:gd name="T28" fmla="*/ 217 w 610"/>
                  <a:gd name="T29" fmla="*/ 534 h 534"/>
                  <a:gd name="T30" fmla="*/ 310 w 610"/>
                  <a:gd name="T31" fmla="*/ 512 h 534"/>
                  <a:gd name="T32" fmla="*/ 403 w 610"/>
                  <a:gd name="T33" fmla="*/ 534 h 534"/>
                  <a:gd name="T34" fmla="*/ 528 w 610"/>
                  <a:gd name="T35" fmla="*/ 489 h 534"/>
                  <a:gd name="T36" fmla="*/ 598 w 610"/>
                  <a:gd name="T37" fmla="*/ 444 h 534"/>
                  <a:gd name="T38" fmla="*/ 573 w 610"/>
                  <a:gd name="T39" fmla="*/ 36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10" h="534">
                    <a:moveTo>
                      <a:pt x="573" y="364"/>
                    </a:moveTo>
                    <a:cubicBezTo>
                      <a:pt x="568" y="339"/>
                      <a:pt x="555" y="317"/>
                      <a:pt x="536" y="298"/>
                    </a:cubicBezTo>
                    <a:cubicBezTo>
                      <a:pt x="544" y="279"/>
                      <a:pt x="541" y="266"/>
                      <a:pt x="541" y="250"/>
                    </a:cubicBezTo>
                    <a:cubicBezTo>
                      <a:pt x="541" y="206"/>
                      <a:pt x="497" y="189"/>
                      <a:pt x="497" y="189"/>
                    </a:cubicBezTo>
                    <a:cubicBezTo>
                      <a:pt x="497" y="189"/>
                      <a:pt x="502" y="139"/>
                      <a:pt x="471" y="109"/>
                    </a:cubicBezTo>
                    <a:cubicBezTo>
                      <a:pt x="450" y="88"/>
                      <a:pt x="424" y="87"/>
                      <a:pt x="400" y="80"/>
                    </a:cubicBezTo>
                    <a:cubicBezTo>
                      <a:pt x="386" y="34"/>
                      <a:pt x="345" y="0"/>
                      <a:pt x="296" y="0"/>
                    </a:cubicBezTo>
                    <a:cubicBezTo>
                      <a:pt x="253" y="0"/>
                      <a:pt x="216" y="26"/>
                      <a:pt x="199" y="64"/>
                    </a:cubicBezTo>
                    <a:cubicBezTo>
                      <a:pt x="170" y="67"/>
                      <a:pt x="141" y="76"/>
                      <a:pt x="125" y="101"/>
                    </a:cubicBezTo>
                    <a:cubicBezTo>
                      <a:pt x="106" y="132"/>
                      <a:pt x="107" y="162"/>
                      <a:pt x="113" y="184"/>
                    </a:cubicBezTo>
                    <a:cubicBezTo>
                      <a:pt x="92" y="207"/>
                      <a:pt x="80" y="236"/>
                      <a:pt x="80" y="268"/>
                    </a:cubicBezTo>
                    <a:cubicBezTo>
                      <a:pt x="80" y="271"/>
                      <a:pt x="81" y="275"/>
                      <a:pt x="81" y="279"/>
                    </a:cubicBezTo>
                    <a:cubicBezTo>
                      <a:pt x="54" y="287"/>
                      <a:pt x="24" y="304"/>
                      <a:pt x="13" y="339"/>
                    </a:cubicBezTo>
                    <a:cubicBezTo>
                      <a:pt x="0" y="384"/>
                      <a:pt x="29" y="413"/>
                      <a:pt x="50" y="428"/>
                    </a:cubicBezTo>
                    <a:cubicBezTo>
                      <a:pt x="70" y="489"/>
                      <a:pt x="137" y="534"/>
                      <a:pt x="217" y="534"/>
                    </a:cubicBezTo>
                    <a:cubicBezTo>
                      <a:pt x="251" y="534"/>
                      <a:pt x="283" y="526"/>
                      <a:pt x="310" y="512"/>
                    </a:cubicBezTo>
                    <a:cubicBezTo>
                      <a:pt x="337" y="526"/>
                      <a:pt x="368" y="534"/>
                      <a:pt x="403" y="534"/>
                    </a:cubicBezTo>
                    <a:cubicBezTo>
                      <a:pt x="452" y="534"/>
                      <a:pt x="497" y="517"/>
                      <a:pt x="528" y="489"/>
                    </a:cubicBezTo>
                    <a:cubicBezTo>
                      <a:pt x="555" y="487"/>
                      <a:pt x="586" y="478"/>
                      <a:pt x="598" y="444"/>
                    </a:cubicBezTo>
                    <a:cubicBezTo>
                      <a:pt x="610" y="411"/>
                      <a:pt x="592" y="383"/>
                      <a:pt x="573" y="364"/>
                    </a:cubicBez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9" name="Freeform 69">
                <a:extLst>
                  <a:ext uri="{FF2B5EF4-FFF2-40B4-BE49-F238E27FC236}">
                    <a16:creationId xmlns:a16="http://schemas.microsoft.com/office/drawing/2014/main" id="{A15CD480-EA22-024B-ADF5-A914DEB30CF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59601" y="1516063"/>
                <a:ext cx="142875" cy="152400"/>
              </a:xfrm>
              <a:custGeom>
                <a:avLst/>
                <a:gdLst>
                  <a:gd name="T0" fmla="*/ 400 w 485"/>
                  <a:gd name="T1" fmla="*/ 80 h 520"/>
                  <a:gd name="T2" fmla="*/ 296 w 485"/>
                  <a:gd name="T3" fmla="*/ 0 h 520"/>
                  <a:gd name="T4" fmla="*/ 199 w 485"/>
                  <a:gd name="T5" fmla="*/ 64 h 520"/>
                  <a:gd name="T6" fmla="*/ 125 w 485"/>
                  <a:gd name="T7" fmla="*/ 101 h 520"/>
                  <a:gd name="T8" fmla="*/ 113 w 485"/>
                  <a:gd name="T9" fmla="*/ 184 h 520"/>
                  <a:gd name="T10" fmla="*/ 80 w 485"/>
                  <a:gd name="T11" fmla="*/ 268 h 520"/>
                  <a:gd name="T12" fmla="*/ 81 w 485"/>
                  <a:gd name="T13" fmla="*/ 279 h 520"/>
                  <a:gd name="T14" fmla="*/ 13 w 485"/>
                  <a:gd name="T15" fmla="*/ 339 h 520"/>
                  <a:gd name="T16" fmla="*/ 50 w 485"/>
                  <a:gd name="T17" fmla="*/ 428 h 520"/>
                  <a:gd name="T18" fmla="*/ 141 w 485"/>
                  <a:gd name="T19" fmla="*/ 520 h 520"/>
                  <a:gd name="T20" fmla="*/ 112 w 485"/>
                  <a:gd name="T21" fmla="*/ 442 h 520"/>
                  <a:gd name="T22" fmla="*/ 174 w 485"/>
                  <a:gd name="T23" fmla="*/ 328 h 520"/>
                  <a:gd name="T24" fmla="*/ 163 w 485"/>
                  <a:gd name="T25" fmla="*/ 245 h 520"/>
                  <a:gd name="T26" fmla="*/ 228 w 485"/>
                  <a:gd name="T27" fmla="*/ 193 h 520"/>
                  <a:gd name="T28" fmla="*/ 278 w 485"/>
                  <a:gd name="T29" fmla="*/ 112 h 520"/>
                  <a:gd name="T30" fmla="*/ 375 w 485"/>
                  <a:gd name="T31" fmla="*/ 127 h 520"/>
                  <a:gd name="T32" fmla="*/ 485 w 485"/>
                  <a:gd name="T33" fmla="*/ 127 h 520"/>
                  <a:gd name="T34" fmla="*/ 471 w 485"/>
                  <a:gd name="T35" fmla="*/ 109 h 520"/>
                  <a:gd name="T36" fmla="*/ 400 w 485"/>
                  <a:gd name="T37" fmla="*/ 8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5" h="520">
                    <a:moveTo>
                      <a:pt x="400" y="80"/>
                    </a:moveTo>
                    <a:cubicBezTo>
                      <a:pt x="386" y="34"/>
                      <a:pt x="345" y="0"/>
                      <a:pt x="296" y="0"/>
                    </a:cubicBezTo>
                    <a:cubicBezTo>
                      <a:pt x="253" y="0"/>
                      <a:pt x="216" y="26"/>
                      <a:pt x="199" y="64"/>
                    </a:cubicBezTo>
                    <a:cubicBezTo>
                      <a:pt x="170" y="67"/>
                      <a:pt x="141" y="76"/>
                      <a:pt x="125" y="101"/>
                    </a:cubicBezTo>
                    <a:cubicBezTo>
                      <a:pt x="106" y="132"/>
                      <a:pt x="107" y="162"/>
                      <a:pt x="113" y="184"/>
                    </a:cubicBezTo>
                    <a:cubicBezTo>
                      <a:pt x="92" y="207"/>
                      <a:pt x="80" y="236"/>
                      <a:pt x="80" y="268"/>
                    </a:cubicBezTo>
                    <a:cubicBezTo>
                      <a:pt x="80" y="271"/>
                      <a:pt x="81" y="275"/>
                      <a:pt x="81" y="279"/>
                    </a:cubicBezTo>
                    <a:cubicBezTo>
                      <a:pt x="54" y="287"/>
                      <a:pt x="24" y="304"/>
                      <a:pt x="13" y="339"/>
                    </a:cubicBezTo>
                    <a:cubicBezTo>
                      <a:pt x="0" y="384"/>
                      <a:pt x="29" y="413"/>
                      <a:pt x="50" y="428"/>
                    </a:cubicBezTo>
                    <a:cubicBezTo>
                      <a:pt x="64" y="468"/>
                      <a:pt x="97" y="501"/>
                      <a:pt x="141" y="520"/>
                    </a:cubicBezTo>
                    <a:cubicBezTo>
                      <a:pt x="124" y="496"/>
                      <a:pt x="112" y="469"/>
                      <a:pt x="112" y="442"/>
                    </a:cubicBezTo>
                    <a:cubicBezTo>
                      <a:pt x="112" y="363"/>
                      <a:pt x="174" y="328"/>
                      <a:pt x="174" y="328"/>
                    </a:cubicBezTo>
                    <a:cubicBezTo>
                      <a:pt x="174" y="328"/>
                      <a:pt x="145" y="285"/>
                      <a:pt x="163" y="245"/>
                    </a:cubicBezTo>
                    <a:cubicBezTo>
                      <a:pt x="181" y="205"/>
                      <a:pt x="228" y="193"/>
                      <a:pt x="228" y="193"/>
                    </a:cubicBezTo>
                    <a:cubicBezTo>
                      <a:pt x="228" y="193"/>
                      <a:pt x="224" y="138"/>
                      <a:pt x="278" y="112"/>
                    </a:cubicBezTo>
                    <a:cubicBezTo>
                      <a:pt x="321" y="90"/>
                      <a:pt x="375" y="127"/>
                      <a:pt x="375" y="127"/>
                    </a:cubicBezTo>
                    <a:cubicBezTo>
                      <a:pt x="375" y="127"/>
                      <a:pt x="433" y="80"/>
                      <a:pt x="485" y="127"/>
                    </a:cubicBezTo>
                    <a:cubicBezTo>
                      <a:pt x="481" y="121"/>
                      <a:pt x="477" y="115"/>
                      <a:pt x="471" y="109"/>
                    </a:cubicBezTo>
                    <a:cubicBezTo>
                      <a:pt x="450" y="88"/>
                      <a:pt x="424" y="87"/>
                      <a:pt x="400" y="80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8AD6855A-019C-9B44-B473-1A50C6848C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70688" y="1550988"/>
              <a:ext cx="179388" cy="203200"/>
              <a:chOff x="6770688" y="1550988"/>
              <a:chExt cx="179388" cy="203200"/>
            </a:xfrm>
          </p:grpSpPr>
          <p:sp>
            <p:nvSpPr>
              <p:cNvPr id="94" name="Freeform 70">
                <a:extLst>
                  <a:ext uri="{FF2B5EF4-FFF2-40B4-BE49-F238E27FC236}">
                    <a16:creationId xmlns:a16="http://schemas.microsoft.com/office/drawing/2014/main" id="{3FBED833-1037-E748-BF6D-03CD2AA6959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843713" y="1649413"/>
                <a:ext cx="44450" cy="104775"/>
              </a:xfrm>
              <a:custGeom>
                <a:avLst/>
                <a:gdLst>
                  <a:gd name="T0" fmla="*/ 85 w 150"/>
                  <a:gd name="T1" fmla="*/ 118 h 356"/>
                  <a:gd name="T2" fmla="*/ 101 w 150"/>
                  <a:gd name="T3" fmla="*/ 356 h 356"/>
                  <a:gd name="T4" fmla="*/ 32 w 150"/>
                  <a:gd name="T5" fmla="*/ 356 h 356"/>
                  <a:gd name="T6" fmla="*/ 42 w 150"/>
                  <a:gd name="T7" fmla="*/ 106 h 356"/>
                  <a:gd name="T8" fmla="*/ 0 w 150"/>
                  <a:gd name="T9" fmla="*/ 1 h 356"/>
                  <a:gd name="T10" fmla="*/ 67 w 150"/>
                  <a:gd name="T11" fmla="*/ 84 h 356"/>
                  <a:gd name="T12" fmla="*/ 150 w 150"/>
                  <a:gd name="T13" fmla="*/ 0 h 356"/>
                  <a:gd name="T14" fmla="*/ 85 w 150"/>
                  <a:gd name="T15" fmla="*/ 118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0" h="356">
                    <a:moveTo>
                      <a:pt x="85" y="118"/>
                    </a:moveTo>
                    <a:lnTo>
                      <a:pt x="101" y="356"/>
                    </a:lnTo>
                    <a:lnTo>
                      <a:pt x="32" y="356"/>
                    </a:lnTo>
                    <a:lnTo>
                      <a:pt x="42" y="106"/>
                    </a:lnTo>
                    <a:lnTo>
                      <a:pt x="0" y="1"/>
                    </a:lnTo>
                    <a:lnTo>
                      <a:pt x="67" y="84"/>
                    </a:lnTo>
                    <a:lnTo>
                      <a:pt x="150" y="0"/>
                    </a:lnTo>
                    <a:lnTo>
                      <a:pt x="85" y="118"/>
                    </a:lnTo>
                    <a:close/>
                  </a:path>
                </a:pathLst>
              </a:custGeom>
              <a:solidFill>
                <a:srgbClr val="9E6E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5" name="Freeform 71">
                <a:extLst>
                  <a:ext uri="{FF2B5EF4-FFF2-40B4-BE49-F238E27FC236}">
                    <a16:creationId xmlns:a16="http://schemas.microsoft.com/office/drawing/2014/main" id="{66A59581-F01B-AF4D-8664-9BBD8F28FB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70688" y="1550988"/>
                <a:ext cx="179388" cy="157163"/>
              </a:xfrm>
              <a:custGeom>
                <a:avLst/>
                <a:gdLst>
                  <a:gd name="T0" fmla="*/ 574 w 610"/>
                  <a:gd name="T1" fmla="*/ 363 h 534"/>
                  <a:gd name="T2" fmla="*/ 537 w 610"/>
                  <a:gd name="T3" fmla="*/ 297 h 534"/>
                  <a:gd name="T4" fmla="*/ 542 w 610"/>
                  <a:gd name="T5" fmla="*/ 249 h 534"/>
                  <a:gd name="T6" fmla="*/ 497 w 610"/>
                  <a:gd name="T7" fmla="*/ 188 h 534"/>
                  <a:gd name="T8" fmla="*/ 472 w 610"/>
                  <a:gd name="T9" fmla="*/ 109 h 534"/>
                  <a:gd name="T10" fmla="*/ 400 w 610"/>
                  <a:gd name="T11" fmla="*/ 79 h 534"/>
                  <a:gd name="T12" fmla="*/ 297 w 610"/>
                  <a:gd name="T13" fmla="*/ 0 h 534"/>
                  <a:gd name="T14" fmla="*/ 199 w 610"/>
                  <a:gd name="T15" fmla="*/ 64 h 534"/>
                  <a:gd name="T16" fmla="*/ 126 w 610"/>
                  <a:gd name="T17" fmla="*/ 101 h 534"/>
                  <a:gd name="T18" fmla="*/ 113 w 610"/>
                  <a:gd name="T19" fmla="*/ 183 h 534"/>
                  <a:gd name="T20" fmla="*/ 81 w 610"/>
                  <a:gd name="T21" fmla="*/ 267 h 534"/>
                  <a:gd name="T22" fmla="*/ 81 w 610"/>
                  <a:gd name="T23" fmla="*/ 279 h 534"/>
                  <a:gd name="T24" fmla="*/ 14 w 610"/>
                  <a:gd name="T25" fmla="*/ 338 h 534"/>
                  <a:gd name="T26" fmla="*/ 51 w 610"/>
                  <a:gd name="T27" fmla="*/ 428 h 534"/>
                  <a:gd name="T28" fmla="*/ 217 w 610"/>
                  <a:gd name="T29" fmla="*/ 534 h 534"/>
                  <a:gd name="T30" fmla="*/ 310 w 610"/>
                  <a:gd name="T31" fmla="*/ 511 h 534"/>
                  <a:gd name="T32" fmla="*/ 403 w 610"/>
                  <a:gd name="T33" fmla="*/ 534 h 534"/>
                  <a:gd name="T34" fmla="*/ 529 w 610"/>
                  <a:gd name="T35" fmla="*/ 489 h 534"/>
                  <a:gd name="T36" fmla="*/ 598 w 610"/>
                  <a:gd name="T37" fmla="*/ 444 h 534"/>
                  <a:gd name="T38" fmla="*/ 574 w 610"/>
                  <a:gd name="T39" fmla="*/ 363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10" h="534">
                    <a:moveTo>
                      <a:pt x="574" y="363"/>
                    </a:moveTo>
                    <a:cubicBezTo>
                      <a:pt x="568" y="339"/>
                      <a:pt x="555" y="316"/>
                      <a:pt x="537" y="297"/>
                    </a:cubicBezTo>
                    <a:cubicBezTo>
                      <a:pt x="544" y="278"/>
                      <a:pt x="542" y="266"/>
                      <a:pt x="542" y="249"/>
                    </a:cubicBezTo>
                    <a:cubicBezTo>
                      <a:pt x="542" y="205"/>
                      <a:pt x="497" y="188"/>
                      <a:pt x="497" y="188"/>
                    </a:cubicBezTo>
                    <a:cubicBezTo>
                      <a:pt x="497" y="188"/>
                      <a:pt x="502" y="139"/>
                      <a:pt x="472" y="109"/>
                    </a:cubicBezTo>
                    <a:cubicBezTo>
                      <a:pt x="451" y="88"/>
                      <a:pt x="424" y="87"/>
                      <a:pt x="400" y="79"/>
                    </a:cubicBezTo>
                    <a:cubicBezTo>
                      <a:pt x="386" y="33"/>
                      <a:pt x="345" y="0"/>
                      <a:pt x="297" y="0"/>
                    </a:cubicBezTo>
                    <a:cubicBezTo>
                      <a:pt x="254" y="0"/>
                      <a:pt x="217" y="26"/>
                      <a:pt x="199" y="64"/>
                    </a:cubicBezTo>
                    <a:cubicBezTo>
                      <a:pt x="171" y="66"/>
                      <a:pt x="141" y="75"/>
                      <a:pt x="126" y="101"/>
                    </a:cubicBezTo>
                    <a:cubicBezTo>
                      <a:pt x="107" y="131"/>
                      <a:pt x="108" y="161"/>
                      <a:pt x="113" y="183"/>
                    </a:cubicBezTo>
                    <a:cubicBezTo>
                      <a:pt x="93" y="207"/>
                      <a:pt x="81" y="236"/>
                      <a:pt x="81" y="267"/>
                    </a:cubicBezTo>
                    <a:cubicBezTo>
                      <a:pt x="81" y="271"/>
                      <a:pt x="81" y="275"/>
                      <a:pt x="81" y="279"/>
                    </a:cubicBezTo>
                    <a:cubicBezTo>
                      <a:pt x="54" y="287"/>
                      <a:pt x="24" y="303"/>
                      <a:pt x="14" y="338"/>
                    </a:cubicBezTo>
                    <a:cubicBezTo>
                      <a:pt x="0" y="383"/>
                      <a:pt x="29" y="413"/>
                      <a:pt x="51" y="428"/>
                    </a:cubicBezTo>
                    <a:cubicBezTo>
                      <a:pt x="71" y="489"/>
                      <a:pt x="138" y="534"/>
                      <a:pt x="217" y="534"/>
                    </a:cubicBezTo>
                    <a:cubicBezTo>
                      <a:pt x="252" y="534"/>
                      <a:pt x="283" y="525"/>
                      <a:pt x="310" y="511"/>
                    </a:cubicBezTo>
                    <a:cubicBezTo>
                      <a:pt x="337" y="525"/>
                      <a:pt x="369" y="534"/>
                      <a:pt x="403" y="534"/>
                    </a:cubicBezTo>
                    <a:cubicBezTo>
                      <a:pt x="452" y="534"/>
                      <a:pt x="497" y="516"/>
                      <a:pt x="529" y="489"/>
                    </a:cubicBezTo>
                    <a:cubicBezTo>
                      <a:pt x="555" y="487"/>
                      <a:pt x="586" y="477"/>
                      <a:pt x="598" y="444"/>
                    </a:cubicBezTo>
                    <a:cubicBezTo>
                      <a:pt x="610" y="410"/>
                      <a:pt x="593" y="382"/>
                      <a:pt x="574" y="363"/>
                    </a:cubicBezTo>
                    <a:close/>
                  </a:path>
                </a:pathLst>
              </a:custGeom>
              <a:solidFill>
                <a:srgbClr val="3E49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6" name="Freeform 72">
                <a:extLst>
                  <a:ext uri="{FF2B5EF4-FFF2-40B4-BE49-F238E27FC236}">
                    <a16:creationId xmlns:a16="http://schemas.microsoft.com/office/drawing/2014/main" id="{7C2242A6-2B54-ED40-B427-090F5301094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70688" y="1550988"/>
                <a:ext cx="142875" cy="153988"/>
              </a:xfrm>
              <a:custGeom>
                <a:avLst/>
                <a:gdLst>
                  <a:gd name="T0" fmla="*/ 400 w 485"/>
                  <a:gd name="T1" fmla="*/ 79 h 519"/>
                  <a:gd name="T2" fmla="*/ 297 w 485"/>
                  <a:gd name="T3" fmla="*/ 0 h 519"/>
                  <a:gd name="T4" fmla="*/ 199 w 485"/>
                  <a:gd name="T5" fmla="*/ 64 h 519"/>
                  <a:gd name="T6" fmla="*/ 126 w 485"/>
                  <a:gd name="T7" fmla="*/ 101 h 519"/>
                  <a:gd name="T8" fmla="*/ 113 w 485"/>
                  <a:gd name="T9" fmla="*/ 183 h 519"/>
                  <a:gd name="T10" fmla="*/ 81 w 485"/>
                  <a:gd name="T11" fmla="*/ 267 h 519"/>
                  <a:gd name="T12" fmla="*/ 81 w 485"/>
                  <a:gd name="T13" fmla="*/ 278 h 519"/>
                  <a:gd name="T14" fmla="*/ 14 w 485"/>
                  <a:gd name="T15" fmla="*/ 338 h 519"/>
                  <a:gd name="T16" fmla="*/ 51 w 485"/>
                  <a:gd name="T17" fmla="*/ 428 h 519"/>
                  <a:gd name="T18" fmla="*/ 141 w 485"/>
                  <a:gd name="T19" fmla="*/ 519 h 519"/>
                  <a:gd name="T20" fmla="*/ 112 w 485"/>
                  <a:gd name="T21" fmla="*/ 441 h 519"/>
                  <a:gd name="T22" fmla="*/ 175 w 485"/>
                  <a:gd name="T23" fmla="*/ 327 h 519"/>
                  <a:gd name="T24" fmla="*/ 163 w 485"/>
                  <a:gd name="T25" fmla="*/ 244 h 519"/>
                  <a:gd name="T26" fmla="*/ 229 w 485"/>
                  <a:gd name="T27" fmla="*/ 193 h 519"/>
                  <a:gd name="T28" fmla="*/ 278 w 485"/>
                  <a:gd name="T29" fmla="*/ 111 h 519"/>
                  <a:gd name="T30" fmla="*/ 375 w 485"/>
                  <a:gd name="T31" fmla="*/ 126 h 519"/>
                  <a:gd name="T32" fmla="*/ 485 w 485"/>
                  <a:gd name="T33" fmla="*/ 126 h 519"/>
                  <a:gd name="T34" fmla="*/ 485 w 485"/>
                  <a:gd name="T35" fmla="*/ 126 h 519"/>
                  <a:gd name="T36" fmla="*/ 472 w 485"/>
                  <a:gd name="T37" fmla="*/ 109 h 519"/>
                  <a:gd name="T38" fmla="*/ 400 w 485"/>
                  <a:gd name="T39" fmla="*/ 79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85" h="519">
                    <a:moveTo>
                      <a:pt x="400" y="79"/>
                    </a:moveTo>
                    <a:cubicBezTo>
                      <a:pt x="386" y="33"/>
                      <a:pt x="345" y="0"/>
                      <a:pt x="297" y="0"/>
                    </a:cubicBezTo>
                    <a:cubicBezTo>
                      <a:pt x="254" y="0"/>
                      <a:pt x="217" y="26"/>
                      <a:pt x="199" y="64"/>
                    </a:cubicBezTo>
                    <a:cubicBezTo>
                      <a:pt x="171" y="66"/>
                      <a:pt x="141" y="75"/>
                      <a:pt x="126" y="101"/>
                    </a:cubicBezTo>
                    <a:cubicBezTo>
                      <a:pt x="107" y="131"/>
                      <a:pt x="108" y="161"/>
                      <a:pt x="113" y="183"/>
                    </a:cubicBezTo>
                    <a:cubicBezTo>
                      <a:pt x="93" y="207"/>
                      <a:pt x="81" y="236"/>
                      <a:pt x="81" y="267"/>
                    </a:cubicBezTo>
                    <a:cubicBezTo>
                      <a:pt x="81" y="271"/>
                      <a:pt x="81" y="275"/>
                      <a:pt x="81" y="278"/>
                    </a:cubicBezTo>
                    <a:cubicBezTo>
                      <a:pt x="54" y="287"/>
                      <a:pt x="24" y="303"/>
                      <a:pt x="14" y="338"/>
                    </a:cubicBezTo>
                    <a:cubicBezTo>
                      <a:pt x="0" y="383"/>
                      <a:pt x="29" y="413"/>
                      <a:pt x="51" y="428"/>
                    </a:cubicBezTo>
                    <a:cubicBezTo>
                      <a:pt x="64" y="468"/>
                      <a:pt x="97" y="501"/>
                      <a:pt x="141" y="519"/>
                    </a:cubicBezTo>
                    <a:cubicBezTo>
                      <a:pt x="125" y="496"/>
                      <a:pt x="112" y="469"/>
                      <a:pt x="112" y="441"/>
                    </a:cubicBezTo>
                    <a:cubicBezTo>
                      <a:pt x="112" y="363"/>
                      <a:pt x="175" y="327"/>
                      <a:pt x="175" y="327"/>
                    </a:cubicBezTo>
                    <a:cubicBezTo>
                      <a:pt x="175" y="327"/>
                      <a:pt x="145" y="285"/>
                      <a:pt x="163" y="244"/>
                    </a:cubicBezTo>
                    <a:cubicBezTo>
                      <a:pt x="181" y="204"/>
                      <a:pt x="229" y="193"/>
                      <a:pt x="229" y="193"/>
                    </a:cubicBezTo>
                    <a:cubicBezTo>
                      <a:pt x="229" y="193"/>
                      <a:pt x="225" y="137"/>
                      <a:pt x="278" y="111"/>
                    </a:cubicBezTo>
                    <a:cubicBezTo>
                      <a:pt x="321" y="90"/>
                      <a:pt x="375" y="126"/>
                      <a:pt x="375" y="126"/>
                    </a:cubicBezTo>
                    <a:cubicBezTo>
                      <a:pt x="375" y="126"/>
                      <a:pt x="433" y="79"/>
                      <a:pt x="485" y="126"/>
                    </a:cubicBezTo>
                    <a:lnTo>
                      <a:pt x="485" y="126"/>
                    </a:lnTo>
                    <a:cubicBezTo>
                      <a:pt x="481" y="120"/>
                      <a:pt x="477" y="114"/>
                      <a:pt x="472" y="109"/>
                    </a:cubicBezTo>
                    <a:cubicBezTo>
                      <a:pt x="451" y="88"/>
                      <a:pt x="424" y="87"/>
                      <a:pt x="400" y="79"/>
                    </a:cubicBezTo>
                    <a:close/>
                  </a:path>
                </a:pathLst>
              </a:custGeom>
              <a:solidFill>
                <a:srgbClr val="687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B9270C37-8E23-C549-85E4-62A28753EB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35951" y="461963"/>
              <a:ext cx="138112" cy="174625"/>
              <a:chOff x="8235951" y="461963"/>
              <a:chExt cx="138112" cy="174625"/>
            </a:xfrm>
          </p:grpSpPr>
          <p:sp>
            <p:nvSpPr>
              <p:cNvPr id="92" name="Rectangle 73">
                <a:extLst>
                  <a:ext uri="{FF2B5EF4-FFF2-40B4-BE49-F238E27FC236}">
                    <a16:creationId xmlns:a16="http://schemas.microsoft.com/office/drawing/2014/main" id="{4371C3B5-A496-1D4D-A5CE-41E10FAB820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235951" y="461963"/>
                <a:ext cx="9525" cy="174625"/>
              </a:xfrm>
              <a:prstGeom prst="rect">
                <a:avLst/>
              </a:prstGeom>
              <a:solidFill>
                <a:srgbClr val="CAD6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3" name="Freeform 74">
                <a:extLst>
                  <a:ext uri="{FF2B5EF4-FFF2-40B4-BE49-F238E27FC236}">
                    <a16:creationId xmlns:a16="http://schemas.microsoft.com/office/drawing/2014/main" id="{B9AB3F47-86CB-6E4B-BCFB-582282B81E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40713" y="466725"/>
                <a:ext cx="133350" cy="98425"/>
              </a:xfrm>
              <a:custGeom>
                <a:avLst/>
                <a:gdLst>
                  <a:gd name="T0" fmla="*/ 0 w 456"/>
                  <a:gd name="T1" fmla="*/ 0 h 335"/>
                  <a:gd name="T2" fmla="*/ 171 w 456"/>
                  <a:gd name="T3" fmla="*/ 136 h 335"/>
                  <a:gd name="T4" fmla="*/ 456 w 456"/>
                  <a:gd name="T5" fmla="*/ 186 h 335"/>
                  <a:gd name="T6" fmla="*/ 286 w 456"/>
                  <a:gd name="T7" fmla="*/ 291 h 335"/>
                  <a:gd name="T8" fmla="*/ 0 w 456"/>
                  <a:gd name="T9" fmla="*/ 275 h 335"/>
                  <a:gd name="T10" fmla="*/ 0 w 456"/>
                  <a:gd name="T11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6" h="335">
                    <a:moveTo>
                      <a:pt x="0" y="0"/>
                    </a:moveTo>
                    <a:cubicBezTo>
                      <a:pt x="0" y="0"/>
                      <a:pt x="58" y="91"/>
                      <a:pt x="171" y="136"/>
                    </a:cubicBezTo>
                    <a:cubicBezTo>
                      <a:pt x="284" y="180"/>
                      <a:pt x="456" y="186"/>
                      <a:pt x="456" y="186"/>
                    </a:cubicBezTo>
                    <a:cubicBezTo>
                      <a:pt x="456" y="186"/>
                      <a:pt x="402" y="262"/>
                      <a:pt x="286" y="291"/>
                    </a:cubicBezTo>
                    <a:cubicBezTo>
                      <a:pt x="110" y="335"/>
                      <a:pt x="0" y="275"/>
                      <a:pt x="0" y="27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F9A4FFDC-5317-C146-A3E3-AB7AFF022D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46850" y="1955800"/>
              <a:ext cx="300038" cy="120650"/>
              <a:chOff x="6546850" y="1955800"/>
              <a:chExt cx="300038" cy="120650"/>
            </a:xfrm>
          </p:grpSpPr>
          <p:sp>
            <p:nvSpPr>
              <p:cNvPr id="90" name="Freeform 75">
                <a:extLst>
                  <a:ext uri="{FF2B5EF4-FFF2-40B4-BE49-F238E27FC236}">
                    <a16:creationId xmlns:a16="http://schemas.microsoft.com/office/drawing/2014/main" id="{29377D8E-2404-2A41-91B0-636F16D4D8F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46850" y="1955800"/>
                <a:ext cx="300038" cy="120650"/>
              </a:xfrm>
              <a:custGeom>
                <a:avLst/>
                <a:gdLst>
                  <a:gd name="T0" fmla="*/ 191 w 1020"/>
                  <a:gd name="T1" fmla="*/ 171 h 408"/>
                  <a:gd name="T2" fmla="*/ 289 w 1020"/>
                  <a:gd name="T3" fmla="*/ 0 h 408"/>
                  <a:gd name="T4" fmla="*/ 745 w 1020"/>
                  <a:gd name="T5" fmla="*/ 0 h 408"/>
                  <a:gd name="T6" fmla="*/ 844 w 1020"/>
                  <a:gd name="T7" fmla="*/ 194 h 408"/>
                  <a:gd name="T8" fmla="*/ 1020 w 1020"/>
                  <a:gd name="T9" fmla="*/ 408 h 408"/>
                  <a:gd name="T10" fmla="*/ 0 w 1020"/>
                  <a:gd name="T11" fmla="*/ 408 h 408"/>
                  <a:gd name="T12" fmla="*/ 191 w 1020"/>
                  <a:gd name="T13" fmla="*/ 171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0" h="408">
                    <a:moveTo>
                      <a:pt x="191" y="171"/>
                    </a:moveTo>
                    <a:cubicBezTo>
                      <a:pt x="245" y="85"/>
                      <a:pt x="289" y="0"/>
                      <a:pt x="289" y="0"/>
                    </a:cubicBezTo>
                    <a:lnTo>
                      <a:pt x="745" y="0"/>
                    </a:lnTo>
                    <a:cubicBezTo>
                      <a:pt x="745" y="0"/>
                      <a:pt x="790" y="128"/>
                      <a:pt x="844" y="194"/>
                    </a:cubicBezTo>
                    <a:cubicBezTo>
                      <a:pt x="898" y="260"/>
                      <a:pt x="1020" y="408"/>
                      <a:pt x="1020" y="408"/>
                    </a:cubicBezTo>
                    <a:lnTo>
                      <a:pt x="0" y="408"/>
                    </a:lnTo>
                    <a:cubicBezTo>
                      <a:pt x="0" y="408"/>
                      <a:pt x="138" y="257"/>
                      <a:pt x="191" y="171"/>
                    </a:cubicBezTo>
                    <a:close/>
                  </a:path>
                </a:pathLst>
              </a:custGeom>
              <a:solidFill>
                <a:srgbClr val="D1A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91" name="Freeform 76">
                <a:extLst>
                  <a:ext uri="{FF2B5EF4-FFF2-40B4-BE49-F238E27FC236}">
                    <a16:creationId xmlns:a16="http://schemas.microsoft.com/office/drawing/2014/main" id="{E7CE88FC-F95D-4A4B-926D-A6342111A04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51614" y="1965325"/>
                <a:ext cx="152400" cy="111125"/>
              </a:xfrm>
              <a:custGeom>
                <a:avLst/>
                <a:gdLst>
                  <a:gd name="T0" fmla="*/ 281 w 515"/>
                  <a:gd name="T1" fmla="*/ 0 h 374"/>
                  <a:gd name="T2" fmla="*/ 0 w 515"/>
                  <a:gd name="T3" fmla="*/ 374 h 374"/>
                  <a:gd name="T4" fmla="*/ 515 w 515"/>
                  <a:gd name="T5" fmla="*/ 374 h 374"/>
                  <a:gd name="T6" fmla="*/ 281 w 515"/>
                  <a:gd name="T7" fmla="*/ 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5" h="374">
                    <a:moveTo>
                      <a:pt x="281" y="0"/>
                    </a:moveTo>
                    <a:cubicBezTo>
                      <a:pt x="281" y="0"/>
                      <a:pt x="182" y="286"/>
                      <a:pt x="0" y="374"/>
                    </a:cubicBezTo>
                    <a:lnTo>
                      <a:pt x="515" y="374"/>
                    </a:lnTo>
                    <a:cubicBezTo>
                      <a:pt x="451" y="298"/>
                      <a:pt x="306" y="117"/>
                      <a:pt x="281" y="0"/>
                    </a:cubicBezTo>
                    <a:close/>
                  </a:path>
                </a:pathLst>
              </a:custGeom>
              <a:solidFill>
                <a:srgbClr val="8974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</p:grpSp>
      <p:sp>
        <p:nvSpPr>
          <p:cNvPr id="136" name="Freeform 135">
            <a:extLst>
              <a:ext uri="{FF2B5EF4-FFF2-40B4-BE49-F238E27FC236}">
                <a16:creationId xmlns:a16="http://schemas.microsoft.com/office/drawing/2014/main" id="{D3784EB9-31B6-C94E-815B-C1E3EB7258ED}"/>
              </a:ext>
            </a:extLst>
          </p:cNvPr>
          <p:cNvSpPr/>
          <p:nvPr/>
        </p:nvSpPr>
        <p:spPr>
          <a:xfrm>
            <a:off x="9998591" y="395632"/>
            <a:ext cx="1772715" cy="1112972"/>
          </a:xfrm>
          <a:custGeom>
            <a:avLst/>
            <a:gdLst>
              <a:gd name="connsiteX0" fmla="*/ 963933 w 1772715"/>
              <a:gd name="connsiteY0" fmla="*/ 0 h 1112972"/>
              <a:gd name="connsiteX1" fmla="*/ 1311389 w 1772715"/>
              <a:gd name="connsiteY1" fmla="*/ 195606 h 1112972"/>
              <a:gd name="connsiteX2" fmla="*/ 1350982 w 1772715"/>
              <a:gd name="connsiteY2" fmla="*/ 296451 h 1112972"/>
              <a:gd name="connsiteX3" fmla="*/ 1388351 w 1772715"/>
              <a:gd name="connsiteY3" fmla="*/ 284851 h 1112972"/>
              <a:gd name="connsiteX4" fmla="*/ 1452821 w 1772715"/>
              <a:gd name="connsiteY4" fmla="*/ 278352 h 1112972"/>
              <a:gd name="connsiteX5" fmla="*/ 1772715 w 1772715"/>
              <a:gd name="connsiteY5" fmla="*/ 598246 h 1112972"/>
              <a:gd name="connsiteX6" fmla="*/ 1517291 w 1772715"/>
              <a:gd name="connsiteY6" fmla="*/ 911641 h 1112972"/>
              <a:gd name="connsiteX7" fmla="*/ 1494049 w 1772715"/>
              <a:gd name="connsiteY7" fmla="*/ 913984 h 1112972"/>
              <a:gd name="connsiteX8" fmla="*/ 1483266 w 1772715"/>
              <a:gd name="connsiteY8" fmla="*/ 933850 h 1112972"/>
              <a:gd name="connsiteX9" fmla="*/ 1146377 w 1772715"/>
              <a:gd name="connsiteY9" fmla="*/ 1112972 h 1112972"/>
              <a:gd name="connsiteX10" fmla="*/ 809488 w 1772715"/>
              <a:gd name="connsiteY10" fmla="*/ 933850 h 1112972"/>
              <a:gd name="connsiteX11" fmla="*/ 789278 w 1772715"/>
              <a:gd name="connsiteY11" fmla="*/ 896615 h 1112972"/>
              <a:gd name="connsiteX12" fmla="*/ 741143 w 1772715"/>
              <a:gd name="connsiteY12" fmla="*/ 968009 h 1112972"/>
              <a:gd name="connsiteX13" fmla="*/ 573189 w 1772715"/>
              <a:gd name="connsiteY13" fmla="*/ 1037578 h 1112972"/>
              <a:gd name="connsiteX14" fmla="*/ 405235 w 1772715"/>
              <a:gd name="connsiteY14" fmla="*/ 968009 h 1112972"/>
              <a:gd name="connsiteX15" fmla="*/ 370202 w 1772715"/>
              <a:gd name="connsiteY15" fmla="*/ 916048 h 1112972"/>
              <a:gd name="connsiteX16" fmla="*/ 308155 w 1772715"/>
              <a:gd name="connsiteY16" fmla="*/ 945876 h 1112972"/>
              <a:gd name="connsiteX17" fmla="*/ 237523 w 1772715"/>
              <a:gd name="connsiteY17" fmla="*/ 956555 h 1112972"/>
              <a:gd name="connsiteX18" fmla="*/ 0 w 1772715"/>
              <a:gd name="connsiteY18" fmla="*/ 719032 h 1112972"/>
              <a:gd name="connsiteX19" fmla="*/ 237523 w 1772715"/>
              <a:gd name="connsiteY19" fmla="*/ 481509 h 1112972"/>
              <a:gd name="connsiteX20" fmla="*/ 278182 w 1772715"/>
              <a:gd name="connsiteY20" fmla="*/ 485608 h 1112972"/>
              <a:gd name="connsiteX21" fmla="*/ 296458 w 1772715"/>
              <a:gd name="connsiteY21" fmla="*/ 395084 h 1112972"/>
              <a:gd name="connsiteX22" fmla="*/ 515315 w 1772715"/>
              <a:gd name="connsiteY22" fmla="*/ 250015 h 1112972"/>
              <a:gd name="connsiteX23" fmla="*/ 563184 w 1772715"/>
              <a:gd name="connsiteY23" fmla="*/ 254841 h 1112972"/>
              <a:gd name="connsiteX24" fmla="*/ 585367 w 1772715"/>
              <a:gd name="connsiteY24" fmla="*/ 261726 h 1112972"/>
              <a:gd name="connsiteX25" fmla="*/ 589586 w 1772715"/>
              <a:gd name="connsiteY25" fmla="*/ 248134 h 1112972"/>
              <a:gd name="connsiteX26" fmla="*/ 963933 w 1772715"/>
              <a:gd name="connsiteY26" fmla="*/ 0 h 1112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772715" h="1112972">
                <a:moveTo>
                  <a:pt x="963933" y="0"/>
                </a:moveTo>
                <a:cubicBezTo>
                  <a:pt x="1111182" y="0"/>
                  <a:pt x="1240134" y="78336"/>
                  <a:pt x="1311389" y="195606"/>
                </a:cubicBezTo>
                <a:lnTo>
                  <a:pt x="1350982" y="296451"/>
                </a:lnTo>
                <a:lnTo>
                  <a:pt x="1388351" y="284851"/>
                </a:lnTo>
                <a:cubicBezTo>
                  <a:pt x="1409175" y="280590"/>
                  <a:pt x="1430737" y="278352"/>
                  <a:pt x="1452821" y="278352"/>
                </a:cubicBezTo>
                <a:cubicBezTo>
                  <a:pt x="1629494" y="278352"/>
                  <a:pt x="1772715" y="421573"/>
                  <a:pt x="1772715" y="598246"/>
                </a:cubicBezTo>
                <a:cubicBezTo>
                  <a:pt x="1772715" y="752835"/>
                  <a:pt x="1663061" y="881812"/>
                  <a:pt x="1517291" y="911641"/>
                </a:cubicBezTo>
                <a:lnTo>
                  <a:pt x="1494049" y="913984"/>
                </a:lnTo>
                <a:lnTo>
                  <a:pt x="1483266" y="933850"/>
                </a:lnTo>
                <a:cubicBezTo>
                  <a:pt x="1410255" y="1041919"/>
                  <a:pt x="1286614" y="1112972"/>
                  <a:pt x="1146377" y="1112972"/>
                </a:cubicBezTo>
                <a:cubicBezTo>
                  <a:pt x="1006140" y="1112972"/>
                  <a:pt x="882499" y="1041919"/>
                  <a:pt x="809488" y="933850"/>
                </a:cubicBezTo>
                <a:lnTo>
                  <a:pt x="789278" y="896615"/>
                </a:lnTo>
                <a:lnTo>
                  <a:pt x="741143" y="968009"/>
                </a:lnTo>
                <a:cubicBezTo>
                  <a:pt x="698160" y="1010992"/>
                  <a:pt x="638779" y="1037578"/>
                  <a:pt x="573189" y="1037578"/>
                </a:cubicBezTo>
                <a:cubicBezTo>
                  <a:pt x="507599" y="1037578"/>
                  <a:pt x="448218" y="1010992"/>
                  <a:pt x="405235" y="968009"/>
                </a:cubicBezTo>
                <a:lnTo>
                  <a:pt x="370202" y="916048"/>
                </a:lnTo>
                <a:lnTo>
                  <a:pt x="308155" y="945876"/>
                </a:lnTo>
                <a:cubicBezTo>
                  <a:pt x="285842" y="952816"/>
                  <a:pt x="262119" y="956555"/>
                  <a:pt x="237523" y="956555"/>
                </a:cubicBezTo>
                <a:cubicBezTo>
                  <a:pt x="106343" y="956555"/>
                  <a:pt x="0" y="850212"/>
                  <a:pt x="0" y="719032"/>
                </a:cubicBezTo>
                <a:cubicBezTo>
                  <a:pt x="0" y="587852"/>
                  <a:pt x="106343" y="481509"/>
                  <a:pt x="237523" y="481509"/>
                </a:cubicBezTo>
                <a:lnTo>
                  <a:pt x="278182" y="485608"/>
                </a:lnTo>
                <a:lnTo>
                  <a:pt x="296458" y="395084"/>
                </a:lnTo>
                <a:cubicBezTo>
                  <a:pt x="332516" y="309833"/>
                  <a:pt x="416930" y="250015"/>
                  <a:pt x="515315" y="250015"/>
                </a:cubicBezTo>
                <a:cubicBezTo>
                  <a:pt x="531713" y="250015"/>
                  <a:pt x="547722" y="251677"/>
                  <a:pt x="563184" y="254841"/>
                </a:cubicBezTo>
                <a:lnTo>
                  <a:pt x="585367" y="261726"/>
                </a:lnTo>
                <a:lnTo>
                  <a:pt x="589586" y="248134"/>
                </a:lnTo>
                <a:cubicBezTo>
                  <a:pt x="651262" y="102316"/>
                  <a:pt x="795649" y="0"/>
                  <a:pt x="96393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7" name="Freeform 136">
            <a:extLst>
              <a:ext uri="{FF2B5EF4-FFF2-40B4-BE49-F238E27FC236}">
                <a16:creationId xmlns:a16="http://schemas.microsoft.com/office/drawing/2014/main" id="{096005A6-5693-6C47-9549-4582CBD01AE8}"/>
              </a:ext>
            </a:extLst>
          </p:cNvPr>
          <p:cNvSpPr/>
          <p:nvPr/>
        </p:nvSpPr>
        <p:spPr>
          <a:xfrm flipH="1">
            <a:off x="6813110" y="1255161"/>
            <a:ext cx="1383427" cy="868563"/>
          </a:xfrm>
          <a:custGeom>
            <a:avLst/>
            <a:gdLst>
              <a:gd name="connsiteX0" fmla="*/ 963933 w 1772715"/>
              <a:gd name="connsiteY0" fmla="*/ 0 h 1112972"/>
              <a:gd name="connsiteX1" fmla="*/ 1311389 w 1772715"/>
              <a:gd name="connsiteY1" fmla="*/ 195606 h 1112972"/>
              <a:gd name="connsiteX2" fmla="*/ 1350982 w 1772715"/>
              <a:gd name="connsiteY2" fmla="*/ 296451 h 1112972"/>
              <a:gd name="connsiteX3" fmla="*/ 1388351 w 1772715"/>
              <a:gd name="connsiteY3" fmla="*/ 284851 h 1112972"/>
              <a:gd name="connsiteX4" fmla="*/ 1452821 w 1772715"/>
              <a:gd name="connsiteY4" fmla="*/ 278352 h 1112972"/>
              <a:gd name="connsiteX5" fmla="*/ 1772715 w 1772715"/>
              <a:gd name="connsiteY5" fmla="*/ 598246 h 1112972"/>
              <a:gd name="connsiteX6" fmla="*/ 1517291 w 1772715"/>
              <a:gd name="connsiteY6" fmla="*/ 911641 h 1112972"/>
              <a:gd name="connsiteX7" fmla="*/ 1494049 w 1772715"/>
              <a:gd name="connsiteY7" fmla="*/ 913984 h 1112972"/>
              <a:gd name="connsiteX8" fmla="*/ 1483266 w 1772715"/>
              <a:gd name="connsiteY8" fmla="*/ 933850 h 1112972"/>
              <a:gd name="connsiteX9" fmla="*/ 1146377 w 1772715"/>
              <a:gd name="connsiteY9" fmla="*/ 1112972 h 1112972"/>
              <a:gd name="connsiteX10" fmla="*/ 809488 w 1772715"/>
              <a:gd name="connsiteY10" fmla="*/ 933850 h 1112972"/>
              <a:gd name="connsiteX11" fmla="*/ 789278 w 1772715"/>
              <a:gd name="connsiteY11" fmla="*/ 896615 h 1112972"/>
              <a:gd name="connsiteX12" fmla="*/ 741143 w 1772715"/>
              <a:gd name="connsiteY12" fmla="*/ 968009 h 1112972"/>
              <a:gd name="connsiteX13" fmla="*/ 573189 w 1772715"/>
              <a:gd name="connsiteY13" fmla="*/ 1037578 h 1112972"/>
              <a:gd name="connsiteX14" fmla="*/ 405235 w 1772715"/>
              <a:gd name="connsiteY14" fmla="*/ 968009 h 1112972"/>
              <a:gd name="connsiteX15" fmla="*/ 370202 w 1772715"/>
              <a:gd name="connsiteY15" fmla="*/ 916048 h 1112972"/>
              <a:gd name="connsiteX16" fmla="*/ 308155 w 1772715"/>
              <a:gd name="connsiteY16" fmla="*/ 945876 h 1112972"/>
              <a:gd name="connsiteX17" fmla="*/ 237523 w 1772715"/>
              <a:gd name="connsiteY17" fmla="*/ 956555 h 1112972"/>
              <a:gd name="connsiteX18" fmla="*/ 0 w 1772715"/>
              <a:gd name="connsiteY18" fmla="*/ 719032 h 1112972"/>
              <a:gd name="connsiteX19" fmla="*/ 237523 w 1772715"/>
              <a:gd name="connsiteY19" fmla="*/ 481509 h 1112972"/>
              <a:gd name="connsiteX20" fmla="*/ 278182 w 1772715"/>
              <a:gd name="connsiteY20" fmla="*/ 485608 h 1112972"/>
              <a:gd name="connsiteX21" fmla="*/ 296458 w 1772715"/>
              <a:gd name="connsiteY21" fmla="*/ 395084 h 1112972"/>
              <a:gd name="connsiteX22" fmla="*/ 515315 w 1772715"/>
              <a:gd name="connsiteY22" fmla="*/ 250015 h 1112972"/>
              <a:gd name="connsiteX23" fmla="*/ 563184 w 1772715"/>
              <a:gd name="connsiteY23" fmla="*/ 254841 h 1112972"/>
              <a:gd name="connsiteX24" fmla="*/ 585367 w 1772715"/>
              <a:gd name="connsiteY24" fmla="*/ 261726 h 1112972"/>
              <a:gd name="connsiteX25" fmla="*/ 589586 w 1772715"/>
              <a:gd name="connsiteY25" fmla="*/ 248134 h 1112972"/>
              <a:gd name="connsiteX26" fmla="*/ 963933 w 1772715"/>
              <a:gd name="connsiteY26" fmla="*/ 0 h 1112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772715" h="1112972">
                <a:moveTo>
                  <a:pt x="963933" y="0"/>
                </a:moveTo>
                <a:cubicBezTo>
                  <a:pt x="1111182" y="0"/>
                  <a:pt x="1240134" y="78336"/>
                  <a:pt x="1311389" y="195606"/>
                </a:cubicBezTo>
                <a:lnTo>
                  <a:pt x="1350982" y="296451"/>
                </a:lnTo>
                <a:lnTo>
                  <a:pt x="1388351" y="284851"/>
                </a:lnTo>
                <a:cubicBezTo>
                  <a:pt x="1409175" y="280590"/>
                  <a:pt x="1430737" y="278352"/>
                  <a:pt x="1452821" y="278352"/>
                </a:cubicBezTo>
                <a:cubicBezTo>
                  <a:pt x="1629494" y="278352"/>
                  <a:pt x="1772715" y="421573"/>
                  <a:pt x="1772715" y="598246"/>
                </a:cubicBezTo>
                <a:cubicBezTo>
                  <a:pt x="1772715" y="752835"/>
                  <a:pt x="1663061" y="881812"/>
                  <a:pt x="1517291" y="911641"/>
                </a:cubicBezTo>
                <a:lnTo>
                  <a:pt x="1494049" y="913984"/>
                </a:lnTo>
                <a:lnTo>
                  <a:pt x="1483266" y="933850"/>
                </a:lnTo>
                <a:cubicBezTo>
                  <a:pt x="1410255" y="1041919"/>
                  <a:pt x="1286614" y="1112972"/>
                  <a:pt x="1146377" y="1112972"/>
                </a:cubicBezTo>
                <a:cubicBezTo>
                  <a:pt x="1006140" y="1112972"/>
                  <a:pt x="882499" y="1041919"/>
                  <a:pt x="809488" y="933850"/>
                </a:cubicBezTo>
                <a:lnTo>
                  <a:pt x="789278" y="896615"/>
                </a:lnTo>
                <a:lnTo>
                  <a:pt x="741143" y="968009"/>
                </a:lnTo>
                <a:cubicBezTo>
                  <a:pt x="698160" y="1010992"/>
                  <a:pt x="638779" y="1037578"/>
                  <a:pt x="573189" y="1037578"/>
                </a:cubicBezTo>
                <a:cubicBezTo>
                  <a:pt x="507599" y="1037578"/>
                  <a:pt x="448218" y="1010992"/>
                  <a:pt x="405235" y="968009"/>
                </a:cubicBezTo>
                <a:lnTo>
                  <a:pt x="370202" y="916048"/>
                </a:lnTo>
                <a:lnTo>
                  <a:pt x="308155" y="945876"/>
                </a:lnTo>
                <a:cubicBezTo>
                  <a:pt x="285842" y="952816"/>
                  <a:pt x="262119" y="956555"/>
                  <a:pt x="237523" y="956555"/>
                </a:cubicBezTo>
                <a:cubicBezTo>
                  <a:pt x="106343" y="956555"/>
                  <a:pt x="0" y="850212"/>
                  <a:pt x="0" y="719032"/>
                </a:cubicBezTo>
                <a:cubicBezTo>
                  <a:pt x="0" y="587852"/>
                  <a:pt x="106343" y="481509"/>
                  <a:pt x="237523" y="481509"/>
                </a:cubicBezTo>
                <a:lnTo>
                  <a:pt x="278182" y="485608"/>
                </a:lnTo>
                <a:lnTo>
                  <a:pt x="296458" y="395084"/>
                </a:lnTo>
                <a:cubicBezTo>
                  <a:pt x="332516" y="309833"/>
                  <a:pt x="416930" y="250015"/>
                  <a:pt x="515315" y="250015"/>
                </a:cubicBezTo>
                <a:cubicBezTo>
                  <a:pt x="531713" y="250015"/>
                  <a:pt x="547722" y="251677"/>
                  <a:pt x="563184" y="254841"/>
                </a:cubicBezTo>
                <a:lnTo>
                  <a:pt x="585367" y="261726"/>
                </a:lnTo>
                <a:lnTo>
                  <a:pt x="589586" y="248134"/>
                </a:lnTo>
                <a:cubicBezTo>
                  <a:pt x="651262" y="102316"/>
                  <a:pt x="795649" y="0"/>
                  <a:pt x="963933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B2B1A-54D0-F624-2D5E-6445F4C65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pporting Mate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8BDA76-1004-F27F-3099-0E1E5F596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ctivity-based materials to support your session</a:t>
            </a:r>
          </a:p>
        </p:txBody>
      </p:sp>
    </p:spTree>
    <p:extLst>
      <p:ext uri="{BB962C8B-B14F-4D97-AF65-F5344CB8AC3E}">
        <p14:creationId xmlns:p14="http://schemas.microsoft.com/office/powerpoint/2010/main" val="7320684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9E17D11-2EFE-73FE-E8DD-751432DBE3A2}"/>
              </a:ext>
            </a:extLst>
          </p:cNvPr>
          <p:cNvSpPr/>
          <p:nvPr/>
        </p:nvSpPr>
        <p:spPr>
          <a:xfrm>
            <a:off x="9010608" y="817199"/>
            <a:ext cx="2520000" cy="1800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F28FC1-AA6C-5A64-A9FE-DD131D96D6C3}"/>
              </a:ext>
            </a:extLst>
          </p:cNvPr>
          <p:cNvSpPr/>
          <p:nvPr/>
        </p:nvSpPr>
        <p:spPr>
          <a:xfrm>
            <a:off x="9015984" y="4831080"/>
            <a:ext cx="2520000" cy="180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 descr="Podium with solid fill">
            <a:extLst>
              <a:ext uri="{FF2B5EF4-FFF2-40B4-BE49-F238E27FC236}">
                <a16:creationId xmlns:a16="http://schemas.microsoft.com/office/drawing/2014/main" id="{96557EDB-3626-1C3B-E090-156331CE3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9597"/>
          <a:stretch/>
        </p:blipFill>
        <p:spPr>
          <a:xfrm>
            <a:off x="9559032" y="5260928"/>
            <a:ext cx="1440000" cy="1301797"/>
          </a:xfrm>
          <a:prstGeom prst="rect">
            <a:avLst/>
          </a:prstGeom>
        </p:spPr>
      </p:pic>
      <p:pic>
        <p:nvPicPr>
          <p:cNvPr id="27" name="Graphic 26" descr="Postit Notes with solid fill">
            <a:extLst>
              <a:ext uri="{FF2B5EF4-FFF2-40B4-BE49-F238E27FC236}">
                <a16:creationId xmlns:a16="http://schemas.microsoft.com/office/drawing/2014/main" id="{0B9C58D9-1F4A-0A4E-A718-6A56A63F7D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0822" y="1055660"/>
            <a:ext cx="1620000" cy="1620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E775C6BF-3F06-9C7F-1750-CFB6E3E5B45C}"/>
              </a:ext>
            </a:extLst>
          </p:cNvPr>
          <p:cNvGrpSpPr/>
          <p:nvPr/>
        </p:nvGrpSpPr>
        <p:grpSpPr>
          <a:xfrm>
            <a:off x="576072" y="795528"/>
            <a:ext cx="2520000" cy="1800000"/>
            <a:chOff x="576072" y="795528"/>
            <a:chExt cx="2520000" cy="1800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A3236C8-87B8-0612-0A71-9E6762863F54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5" name="Graphic 14" descr="Boardroom with solid fill">
              <a:extLst>
                <a:ext uri="{FF2B5EF4-FFF2-40B4-BE49-F238E27FC236}">
                  <a16:creationId xmlns:a16="http://schemas.microsoft.com/office/drawing/2014/main" id="{9A8EDDB3-B865-68AB-E22C-17684E58E9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17646"/>
            <a:stretch/>
          </p:blipFill>
          <p:spPr>
            <a:xfrm>
              <a:off x="936072" y="1060929"/>
              <a:ext cx="1800000" cy="148237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642A5DF-72F9-B872-05CB-DE5D94D3D158}"/>
                </a:ext>
              </a:extLst>
            </p:cNvPr>
            <p:cNvSpPr txBox="1"/>
            <p:nvPr/>
          </p:nvSpPr>
          <p:spPr>
            <a:xfrm>
              <a:off x="576072" y="795528"/>
              <a:ext cx="2520000" cy="646331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en-GB" spc="-20" dirty="0">
                  <a:solidFill>
                    <a:schemeClr val="bg1"/>
                  </a:solidFill>
                </a:rPr>
                <a:t>Stakeholder </a:t>
              </a:r>
              <a:br>
                <a:rPr lang="en-GB" spc="-20" dirty="0">
                  <a:solidFill>
                    <a:schemeClr val="bg1"/>
                  </a:solidFill>
                </a:rPr>
              </a:br>
              <a:r>
                <a:rPr lang="en-GB" spc="-20" dirty="0">
                  <a:solidFill>
                    <a:schemeClr val="bg1"/>
                  </a:solidFill>
                </a:rPr>
                <a:t>engagement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6E9AD4F-AF5F-7B16-7CFF-142B81A36F76}"/>
              </a:ext>
            </a:extLst>
          </p:cNvPr>
          <p:cNvGrpSpPr/>
          <p:nvPr/>
        </p:nvGrpSpPr>
        <p:grpSpPr>
          <a:xfrm>
            <a:off x="576072" y="2813304"/>
            <a:ext cx="2520000" cy="1908888"/>
            <a:chOff x="576072" y="2813304"/>
            <a:chExt cx="2520000" cy="190888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72DFBE6-962A-13D0-0B46-A1B3BC9A6B6E}"/>
                </a:ext>
              </a:extLst>
            </p:cNvPr>
            <p:cNvSpPr/>
            <p:nvPr/>
          </p:nvSpPr>
          <p:spPr>
            <a:xfrm>
              <a:off x="576072" y="2813304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Graphic 13" descr="Chat with solid fill">
              <a:extLst>
                <a:ext uri="{FF2B5EF4-FFF2-40B4-BE49-F238E27FC236}">
                  <a16:creationId xmlns:a16="http://schemas.microsoft.com/office/drawing/2014/main" id="{80F2EECC-C22A-ED55-7EBF-F5F95CC66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88012" y="2922192"/>
              <a:ext cx="1800000" cy="18000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5E4BC7-3CA9-3748-1470-C1C785CE75B1}"/>
                </a:ext>
              </a:extLst>
            </p:cNvPr>
            <p:cNvSpPr txBox="1"/>
            <p:nvPr/>
          </p:nvSpPr>
          <p:spPr>
            <a:xfrm>
              <a:off x="576072" y="2846414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Work with others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428FDAA-77C4-5440-7C18-64696B2F82ED}"/>
              </a:ext>
            </a:extLst>
          </p:cNvPr>
          <p:cNvGrpSpPr/>
          <p:nvPr/>
        </p:nvGrpSpPr>
        <p:grpSpPr>
          <a:xfrm>
            <a:off x="576072" y="4831080"/>
            <a:ext cx="2530188" cy="1800000"/>
            <a:chOff x="576072" y="4831080"/>
            <a:chExt cx="2530188" cy="1800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25086F6-2D5A-C535-3EE4-4FA862D86D57}"/>
                </a:ext>
              </a:extLst>
            </p:cNvPr>
            <p:cNvSpPr/>
            <p:nvPr/>
          </p:nvSpPr>
          <p:spPr>
            <a:xfrm>
              <a:off x="576072" y="4831080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Graphic 15" descr="Teacher with solid fill">
              <a:extLst>
                <a:ext uri="{FF2B5EF4-FFF2-40B4-BE49-F238E27FC236}">
                  <a16:creationId xmlns:a16="http://schemas.microsoft.com/office/drawing/2014/main" id="{4A041234-49B3-CAF1-76E8-945E0B8FE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12000"/>
            <a:stretch/>
          </p:blipFill>
          <p:spPr>
            <a:xfrm>
              <a:off x="888012" y="5047070"/>
              <a:ext cx="1800000" cy="158401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D3E1B7C-3939-2AE0-3469-542A9485C358}"/>
                </a:ext>
              </a:extLst>
            </p:cNvPr>
            <p:cNvSpPr txBox="1"/>
            <p:nvPr/>
          </p:nvSpPr>
          <p:spPr>
            <a:xfrm>
              <a:off x="586260" y="483108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Present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F248735-9A7F-7708-D883-B0D803CB8DEE}"/>
              </a:ext>
            </a:extLst>
          </p:cNvPr>
          <p:cNvGrpSpPr/>
          <p:nvPr/>
        </p:nvGrpSpPr>
        <p:grpSpPr>
          <a:xfrm>
            <a:off x="3389376" y="795528"/>
            <a:ext cx="2520000" cy="1859184"/>
            <a:chOff x="3389376" y="795528"/>
            <a:chExt cx="2520000" cy="185918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5B5BA5-CF7A-A298-B782-4EF08FD7AC9C}"/>
                </a:ext>
              </a:extLst>
            </p:cNvPr>
            <p:cNvSpPr/>
            <p:nvPr/>
          </p:nvSpPr>
          <p:spPr>
            <a:xfrm>
              <a:off x="3389376" y="795528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26" name="Graphic 25" descr="Gantt Chart with solid fill">
              <a:extLst>
                <a:ext uri="{FF2B5EF4-FFF2-40B4-BE49-F238E27FC236}">
                  <a16:creationId xmlns:a16="http://schemas.microsoft.com/office/drawing/2014/main" id="{53A93824-A809-F9C8-4C19-B5A756168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393901" y="1034712"/>
              <a:ext cx="1620000" cy="16200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82ACA38-93D2-150A-A814-DE7F572C65B6}"/>
                </a:ext>
              </a:extLst>
            </p:cNvPr>
            <p:cNvSpPr txBox="1"/>
            <p:nvPr/>
          </p:nvSpPr>
          <p:spPr>
            <a:xfrm>
              <a:off x="3828385" y="795528"/>
              <a:ext cx="206432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dirty="0">
                  <a:solidFill>
                    <a:schemeClr val="bg1"/>
                  </a:solidFill>
                </a:rPr>
                <a:t>Plan and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Organise to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meet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deadline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344B7E-D613-A82C-626E-AE5755C183E7}"/>
              </a:ext>
            </a:extLst>
          </p:cNvPr>
          <p:cNvGrpSpPr/>
          <p:nvPr/>
        </p:nvGrpSpPr>
        <p:grpSpPr>
          <a:xfrm>
            <a:off x="3362352" y="2813304"/>
            <a:ext cx="2547024" cy="1800000"/>
            <a:chOff x="3362352" y="2813304"/>
            <a:chExt cx="2547024" cy="1800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7E5496C-A34B-446E-E31C-5961552C6145}"/>
                </a:ext>
              </a:extLst>
            </p:cNvPr>
            <p:cNvSpPr/>
            <p:nvPr/>
          </p:nvSpPr>
          <p:spPr>
            <a:xfrm>
              <a:off x="3389376" y="2813304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9" name="Graphic 18" descr="Target Audience with solid fill">
              <a:extLst>
                <a:ext uri="{FF2B5EF4-FFF2-40B4-BE49-F238E27FC236}">
                  <a16:creationId xmlns:a16="http://schemas.microsoft.com/office/drawing/2014/main" id="{86495E41-5692-1B32-652D-99E92A42FB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b="11455"/>
            <a:stretch/>
          </p:blipFill>
          <p:spPr>
            <a:xfrm>
              <a:off x="3736596" y="3005328"/>
              <a:ext cx="1800000" cy="1593804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BFC9E80-BC53-F2D6-FF9A-46E8CBBACB37}"/>
                </a:ext>
              </a:extLst>
            </p:cNvPr>
            <p:cNvSpPr txBox="1"/>
            <p:nvPr/>
          </p:nvSpPr>
          <p:spPr>
            <a:xfrm>
              <a:off x="3362352" y="2820662"/>
              <a:ext cx="2547024" cy="369332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>
                <a:defRPr spc="-20"/>
              </a:lvl1pPr>
            </a:lstStyle>
            <a:p>
              <a:r>
                <a:rPr lang="en-GB" dirty="0">
                  <a:solidFill>
                    <a:schemeClr val="bg1"/>
                  </a:solidFill>
                </a:rPr>
                <a:t>Understand the customer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1650DBF-86DC-B6A7-7D11-E31024A45013}"/>
              </a:ext>
            </a:extLst>
          </p:cNvPr>
          <p:cNvGrpSpPr/>
          <p:nvPr/>
        </p:nvGrpSpPr>
        <p:grpSpPr>
          <a:xfrm>
            <a:off x="3389376" y="4819830"/>
            <a:ext cx="2522880" cy="1811250"/>
            <a:chOff x="3389376" y="4819830"/>
            <a:chExt cx="2522880" cy="18112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C609CB-B43C-5218-B048-2C995D2AB262}"/>
                </a:ext>
              </a:extLst>
            </p:cNvPr>
            <p:cNvSpPr/>
            <p:nvPr/>
          </p:nvSpPr>
          <p:spPr>
            <a:xfrm>
              <a:off x="3389376" y="4831080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8" name="Graphic 17" descr="Ui Ux with solid fill">
              <a:extLst>
                <a:ext uri="{FF2B5EF4-FFF2-40B4-BE49-F238E27FC236}">
                  <a16:creationId xmlns:a16="http://schemas.microsoft.com/office/drawing/2014/main" id="{F9DE1278-D57E-0571-C576-61209BD9C6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b="11013"/>
            <a:stretch/>
          </p:blipFill>
          <p:spPr>
            <a:xfrm>
              <a:off x="3825864" y="5121132"/>
              <a:ext cx="1620000" cy="1441593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6A65676-2B04-28F5-185D-E0F2707F83CF}"/>
                </a:ext>
              </a:extLst>
            </p:cNvPr>
            <p:cNvSpPr txBox="1"/>
            <p:nvPr/>
          </p:nvSpPr>
          <p:spPr>
            <a:xfrm>
              <a:off x="3392256" y="481983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Design &amp; graphic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66A1B51-E132-FF81-4EE7-76C097726F35}"/>
              </a:ext>
            </a:extLst>
          </p:cNvPr>
          <p:cNvGrpSpPr/>
          <p:nvPr/>
        </p:nvGrpSpPr>
        <p:grpSpPr>
          <a:xfrm>
            <a:off x="6160008" y="782060"/>
            <a:ext cx="2525234" cy="1813468"/>
            <a:chOff x="6160008" y="782060"/>
            <a:chExt cx="2525234" cy="181346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D69E71-D056-BB74-0C5B-FEB8290367F5}"/>
                </a:ext>
              </a:extLst>
            </p:cNvPr>
            <p:cNvSpPr/>
            <p:nvPr/>
          </p:nvSpPr>
          <p:spPr>
            <a:xfrm>
              <a:off x="6165242" y="795528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0" name="Graphic 19" descr="Magnifying glass with solid fill">
              <a:extLst>
                <a:ext uri="{FF2B5EF4-FFF2-40B4-BE49-F238E27FC236}">
                  <a16:creationId xmlns:a16="http://schemas.microsoft.com/office/drawing/2014/main" id="{07FFA125-8192-A06F-F634-7ED54B290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99840" y="1124712"/>
              <a:ext cx="1440000" cy="14400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B11C253-3CBE-A28E-2E06-D9253B54F3EE}"/>
                </a:ext>
              </a:extLst>
            </p:cNvPr>
            <p:cNvSpPr txBox="1"/>
            <p:nvPr/>
          </p:nvSpPr>
          <p:spPr>
            <a:xfrm>
              <a:off x="6160008" y="78206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Research / Fact finding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DEEE895-0AC1-EA33-D66E-29CE5D31C633}"/>
              </a:ext>
            </a:extLst>
          </p:cNvPr>
          <p:cNvGrpSpPr/>
          <p:nvPr/>
        </p:nvGrpSpPr>
        <p:grpSpPr>
          <a:xfrm>
            <a:off x="6135984" y="2802468"/>
            <a:ext cx="2559672" cy="1823868"/>
            <a:chOff x="6135984" y="2802468"/>
            <a:chExt cx="2559672" cy="182386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A2CA697-4422-5D19-28BA-3BE4EE9172A1}"/>
                </a:ext>
              </a:extLst>
            </p:cNvPr>
            <p:cNvSpPr/>
            <p:nvPr/>
          </p:nvSpPr>
          <p:spPr>
            <a:xfrm>
              <a:off x="6175656" y="2826336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7" name="Graphic 16" descr="Storytelling with solid fill">
              <a:extLst>
                <a:ext uri="{FF2B5EF4-FFF2-40B4-BE49-F238E27FC236}">
                  <a16:creationId xmlns:a16="http://schemas.microsoft.com/office/drawing/2014/main" id="{5C39B51C-7880-C5B0-6DFC-FC80E462D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798936" y="3411132"/>
              <a:ext cx="1188000" cy="1188000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F113CAD-D4FB-AB91-8ED5-CE9A8D29CF33}"/>
                </a:ext>
              </a:extLst>
            </p:cNvPr>
            <p:cNvSpPr txBox="1"/>
            <p:nvPr/>
          </p:nvSpPr>
          <p:spPr>
            <a:xfrm>
              <a:off x="6135984" y="2802468"/>
              <a:ext cx="2520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Storytelling / Build Compelling narrative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13D8F3-5A24-421F-CF09-59637EC05F0D}"/>
              </a:ext>
            </a:extLst>
          </p:cNvPr>
          <p:cNvGrpSpPr/>
          <p:nvPr/>
        </p:nvGrpSpPr>
        <p:grpSpPr>
          <a:xfrm>
            <a:off x="6160008" y="4831080"/>
            <a:ext cx="2572152" cy="1800000"/>
            <a:chOff x="6160008" y="4831080"/>
            <a:chExt cx="2572152" cy="180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F361479-E13C-AACE-B2E6-B989F639B0FB}"/>
                </a:ext>
              </a:extLst>
            </p:cNvPr>
            <p:cNvSpPr/>
            <p:nvPr/>
          </p:nvSpPr>
          <p:spPr>
            <a:xfrm>
              <a:off x="6160008" y="4831080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027A621-0EB3-D039-06AB-0A9BA29039DB}"/>
                </a:ext>
              </a:extLst>
            </p:cNvPr>
            <p:cNvGrpSpPr/>
            <p:nvPr/>
          </p:nvGrpSpPr>
          <p:grpSpPr>
            <a:xfrm>
              <a:off x="6671265" y="5295901"/>
              <a:ext cx="1620000" cy="1260000"/>
              <a:chOff x="6492936" y="4847504"/>
              <a:chExt cx="1800000" cy="1535907"/>
            </a:xfrm>
          </p:grpSpPr>
          <p:pic>
            <p:nvPicPr>
              <p:cNvPr id="24" name="Graphic 23" descr="Supply And Demand with solid fill">
                <a:extLst>
                  <a:ext uri="{FF2B5EF4-FFF2-40B4-BE49-F238E27FC236}">
                    <a16:creationId xmlns:a16="http://schemas.microsoft.com/office/drawing/2014/main" id="{311BF82F-BCD8-140A-7B2A-D972F4FEB6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 t="8533" b="6139"/>
              <a:stretch/>
            </p:blipFill>
            <p:spPr>
              <a:xfrm>
                <a:off x="6492936" y="4847504"/>
                <a:ext cx="1800000" cy="1535907"/>
              </a:xfrm>
              <a:prstGeom prst="rect">
                <a:avLst/>
              </a:prstGeom>
            </p:spPr>
          </p:pic>
          <p:pic>
            <p:nvPicPr>
              <p:cNvPr id="25" name="Graphic 24" descr="Pound with solid fill">
                <a:extLst>
                  <a:ext uri="{FF2B5EF4-FFF2-40B4-BE49-F238E27FC236}">
                    <a16:creationId xmlns:a16="http://schemas.microsoft.com/office/drawing/2014/main" id="{0797D3C9-FE47-94C5-128F-2C9C24F778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7191474" y="5157816"/>
                <a:ext cx="402924" cy="402924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6ABFE57-56A7-28C2-9B69-BAB0B6521322}"/>
                </a:ext>
              </a:extLst>
            </p:cNvPr>
            <p:cNvSpPr txBox="1"/>
            <p:nvPr/>
          </p:nvSpPr>
          <p:spPr>
            <a:xfrm>
              <a:off x="6212160" y="4840717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Pricing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585BB955-9700-F703-A1D8-8CFE9B548D0C}"/>
              </a:ext>
            </a:extLst>
          </p:cNvPr>
          <p:cNvSpPr txBox="1"/>
          <p:nvPr/>
        </p:nvSpPr>
        <p:spPr>
          <a:xfrm>
            <a:off x="9019032" y="797938"/>
            <a:ext cx="25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un workshops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and meeting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E17D413-718F-DC37-4EC6-DAD79CF556EE}"/>
              </a:ext>
            </a:extLst>
          </p:cNvPr>
          <p:cNvGrpSpPr/>
          <p:nvPr/>
        </p:nvGrpSpPr>
        <p:grpSpPr>
          <a:xfrm>
            <a:off x="9010608" y="2826336"/>
            <a:ext cx="2525376" cy="1806516"/>
            <a:chOff x="9010608" y="2826336"/>
            <a:chExt cx="2525376" cy="180651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5BA59ED-2CE8-EB9C-038D-B3925F61D56B}"/>
                </a:ext>
              </a:extLst>
            </p:cNvPr>
            <p:cNvSpPr/>
            <p:nvPr/>
          </p:nvSpPr>
          <p:spPr>
            <a:xfrm>
              <a:off x="9015984" y="2826336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Graphic 20" descr="Contract with solid fill">
              <a:extLst>
                <a:ext uri="{FF2B5EF4-FFF2-40B4-BE49-F238E27FC236}">
                  <a16:creationId xmlns:a16="http://schemas.microsoft.com/office/drawing/2014/main" id="{2BCAB711-3B16-5C29-BCF7-DC62DD70E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9555984" y="3192852"/>
              <a:ext cx="1440000" cy="14400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AF7815E-A75F-6108-F47B-9B44ACBEBB54}"/>
                </a:ext>
              </a:extLst>
            </p:cNvPr>
            <p:cNvSpPr txBox="1"/>
            <p:nvPr/>
          </p:nvSpPr>
          <p:spPr>
            <a:xfrm>
              <a:off x="9010608" y="2834487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pc="-50" dirty="0">
                  <a:solidFill>
                    <a:schemeClr val="bg1"/>
                  </a:solidFill>
                </a:rPr>
                <a:t>Contract/Commercials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AFB07FAD-A526-35AD-5CA8-3D44154E3856}"/>
              </a:ext>
            </a:extLst>
          </p:cNvPr>
          <p:cNvSpPr txBox="1"/>
          <p:nvPr/>
        </p:nvSpPr>
        <p:spPr>
          <a:xfrm>
            <a:off x="9011154" y="4837863"/>
            <a:ext cx="25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evelop Win Strategies</a:t>
            </a:r>
          </a:p>
        </p:txBody>
      </p:sp>
    </p:spTree>
    <p:extLst>
      <p:ext uri="{BB962C8B-B14F-4D97-AF65-F5344CB8AC3E}">
        <p14:creationId xmlns:p14="http://schemas.microsoft.com/office/powerpoint/2010/main" val="749784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9E17D11-2EFE-73FE-E8DD-751432DBE3A2}"/>
              </a:ext>
            </a:extLst>
          </p:cNvPr>
          <p:cNvSpPr/>
          <p:nvPr/>
        </p:nvSpPr>
        <p:spPr>
          <a:xfrm>
            <a:off x="9010608" y="817199"/>
            <a:ext cx="2520000" cy="1800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F28FC1-AA6C-5A64-A9FE-DD131D96D6C3}"/>
              </a:ext>
            </a:extLst>
          </p:cNvPr>
          <p:cNvSpPr/>
          <p:nvPr/>
        </p:nvSpPr>
        <p:spPr>
          <a:xfrm>
            <a:off x="9015984" y="4831080"/>
            <a:ext cx="2520000" cy="180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 descr="Podium with solid fill">
            <a:extLst>
              <a:ext uri="{FF2B5EF4-FFF2-40B4-BE49-F238E27FC236}">
                <a16:creationId xmlns:a16="http://schemas.microsoft.com/office/drawing/2014/main" id="{96557EDB-3626-1C3B-E090-156331CE3D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9597"/>
          <a:stretch/>
        </p:blipFill>
        <p:spPr>
          <a:xfrm>
            <a:off x="9559032" y="5260928"/>
            <a:ext cx="1440000" cy="1301797"/>
          </a:xfrm>
          <a:prstGeom prst="rect">
            <a:avLst/>
          </a:prstGeom>
        </p:spPr>
      </p:pic>
      <p:pic>
        <p:nvPicPr>
          <p:cNvPr id="27" name="Graphic 26" descr="Postit Notes with solid fill">
            <a:extLst>
              <a:ext uri="{FF2B5EF4-FFF2-40B4-BE49-F238E27FC236}">
                <a16:creationId xmlns:a16="http://schemas.microsoft.com/office/drawing/2014/main" id="{0B9C58D9-1F4A-0A4E-A718-6A56A63F7D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0822" y="1055660"/>
            <a:ext cx="1620000" cy="1620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E775C6BF-3F06-9C7F-1750-CFB6E3E5B45C}"/>
              </a:ext>
            </a:extLst>
          </p:cNvPr>
          <p:cNvGrpSpPr/>
          <p:nvPr/>
        </p:nvGrpSpPr>
        <p:grpSpPr>
          <a:xfrm>
            <a:off x="576072" y="795528"/>
            <a:ext cx="2520000" cy="1800000"/>
            <a:chOff x="576072" y="795528"/>
            <a:chExt cx="2520000" cy="1800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A3236C8-87B8-0612-0A71-9E6762863F54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5" name="Graphic 14" descr="Boardroom with solid fill">
              <a:extLst>
                <a:ext uri="{FF2B5EF4-FFF2-40B4-BE49-F238E27FC236}">
                  <a16:creationId xmlns:a16="http://schemas.microsoft.com/office/drawing/2014/main" id="{9A8EDDB3-B865-68AB-E22C-17684E58E9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17646"/>
            <a:stretch/>
          </p:blipFill>
          <p:spPr>
            <a:xfrm>
              <a:off x="936072" y="1060929"/>
              <a:ext cx="1800000" cy="148237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642A5DF-72F9-B872-05CB-DE5D94D3D158}"/>
                </a:ext>
              </a:extLst>
            </p:cNvPr>
            <p:cNvSpPr txBox="1"/>
            <p:nvPr/>
          </p:nvSpPr>
          <p:spPr>
            <a:xfrm>
              <a:off x="576072" y="795528"/>
              <a:ext cx="2520000" cy="646331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en-GB" spc="-20" dirty="0">
                  <a:solidFill>
                    <a:schemeClr val="bg1"/>
                  </a:solidFill>
                </a:rPr>
                <a:t>Stakeholder </a:t>
              </a:r>
              <a:br>
                <a:rPr lang="en-GB" spc="-20" dirty="0">
                  <a:solidFill>
                    <a:schemeClr val="bg1"/>
                  </a:solidFill>
                </a:rPr>
              </a:br>
              <a:r>
                <a:rPr lang="en-GB" spc="-20" dirty="0">
                  <a:solidFill>
                    <a:schemeClr val="bg1"/>
                  </a:solidFill>
                </a:rPr>
                <a:t>engagement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6E9AD4F-AF5F-7B16-7CFF-142B81A36F76}"/>
              </a:ext>
            </a:extLst>
          </p:cNvPr>
          <p:cNvGrpSpPr/>
          <p:nvPr/>
        </p:nvGrpSpPr>
        <p:grpSpPr>
          <a:xfrm>
            <a:off x="576072" y="2813304"/>
            <a:ext cx="2520000" cy="1908888"/>
            <a:chOff x="576072" y="2813304"/>
            <a:chExt cx="2520000" cy="190888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72DFBE6-962A-13D0-0B46-A1B3BC9A6B6E}"/>
                </a:ext>
              </a:extLst>
            </p:cNvPr>
            <p:cNvSpPr/>
            <p:nvPr/>
          </p:nvSpPr>
          <p:spPr>
            <a:xfrm>
              <a:off x="576072" y="2813304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Graphic 13" descr="Chat with solid fill">
              <a:extLst>
                <a:ext uri="{FF2B5EF4-FFF2-40B4-BE49-F238E27FC236}">
                  <a16:creationId xmlns:a16="http://schemas.microsoft.com/office/drawing/2014/main" id="{80F2EECC-C22A-ED55-7EBF-F5F95CC66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88012" y="2922192"/>
              <a:ext cx="1800000" cy="18000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5E4BC7-3CA9-3748-1470-C1C785CE75B1}"/>
                </a:ext>
              </a:extLst>
            </p:cNvPr>
            <p:cNvSpPr txBox="1"/>
            <p:nvPr/>
          </p:nvSpPr>
          <p:spPr>
            <a:xfrm>
              <a:off x="576072" y="2846414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Work with others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428FDAA-77C4-5440-7C18-64696B2F82ED}"/>
              </a:ext>
            </a:extLst>
          </p:cNvPr>
          <p:cNvGrpSpPr/>
          <p:nvPr/>
        </p:nvGrpSpPr>
        <p:grpSpPr>
          <a:xfrm>
            <a:off x="576072" y="4831080"/>
            <a:ext cx="2530188" cy="1800000"/>
            <a:chOff x="576072" y="4831080"/>
            <a:chExt cx="2530188" cy="1800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25086F6-2D5A-C535-3EE4-4FA862D86D57}"/>
                </a:ext>
              </a:extLst>
            </p:cNvPr>
            <p:cNvSpPr/>
            <p:nvPr/>
          </p:nvSpPr>
          <p:spPr>
            <a:xfrm>
              <a:off x="576072" y="4831080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Graphic 15" descr="Teacher with solid fill">
              <a:extLst>
                <a:ext uri="{FF2B5EF4-FFF2-40B4-BE49-F238E27FC236}">
                  <a16:creationId xmlns:a16="http://schemas.microsoft.com/office/drawing/2014/main" id="{4A041234-49B3-CAF1-76E8-945E0B8FE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12000"/>
            <a:stretch/>
          </p:blipFill>
          <p:spPr>
            <a:xfrm>
              <a:off x="888012" y="5047070"/>
              <a:ext cx="1800000" cy="158401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D3E1B7C-3939-2AE0-3469-542A9485C358}"/>
                </a:ext>
              </a:extLst>
            </p:cNvPr>
            <p:cNvSpPr txBox="1"/>
            <p:nvPr/>
          </p:nvSpPr>
          <p:spPr>
            <a:xfrm>
              <a:off x="586260" y="483108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Present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F248735-9A7F-7708-D883-B0D803CB8DEE}"/>
              </a:ext>
            </a:extLst>
          </p:cNvPr>
          <p:cNvGrpSpPr/>
          <p:nvPr/>
        </p:nvGrpSpPr>
        <p:grpSpPr>
          <a:xfrm>
            <a:off x="3389376" y="795528"/>
            <a:ext cx="2520000" cy="1859184"/>
            <a:chOff x="3389376" y="795528"/>
            <a:chExt cx="2520000" cy="185918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5B5BA5-CF7A-A298-B782-4EF08FD7AC9C}"/>
                </a:ext>
              </a:extLst>
            </p:cNvPr>
            <p:cNvSpPr/>
            <p:nvPr/>
          </p:nvSpPr>
          <p:spPr>
            <a:xfrm>
              <a:off x="3389376" y="795528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26" name="Graphic 25" descr="Gantt Chart with solid fill">
              <a:extLst>
                <a:ext uri="{FF2B5EF4-FFF2-40B4-BE49-F238E27FC236}">
                  <a16:creationId xmlns:a16="http://schemas.microsoft.com/office/drawing/2014/main" id="{53A93824-A809-F9C8-4C19-B5A756168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393901" y="1034712"/>
              <a:ext cx="1620000" cy="16200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82ACA38-93D2-150A-A814-DE7F572C65B6}"/>
                </a:ext>
              </a:extLst>
            </p:cNvPr>
            <p:cNvSpPr txBox="1"/>
            <p:nvPr/>
          </p:nvSpPr>
          <p:spPr>
            <a:xfrm>
              <a:off x="3828385" y="795528"/>
              <a:ext cx="206432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dirty="0">
                  <a:solidFill>
                    <a:schemeClr val="bg1"/>
                  </a:solidFill>
                </a:rPr>
                <a:t>Plan and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Organise to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meet 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deadline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344B7E-D613-A82C-626E-AE5755C183E7}"/>
              </a:ext>
            </a:extLst>
          </p:cNvPr>
          <p:cNvGrpSpPr/>
          <p:nvPr/>
        </p:nvGrpSpPr>
        <p:grpSpPr>
          <a:xfrm>
            <a:off x="3362352" y="2813304"/>
            <a:ext cx="2547024" cy="1800000"/>
            <a:chOff x="3362352" y="2813304"/>
            <a:chExt cx="2547024" cy="1800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7E5496C-A34B-446E-E31C-5961552C6145}"/>
                </a:ext>
              </a:extLst>
            </p:cNvPr>
            <p:cNvSpPr/>
            <p:nvPr/>
          </p:nvSpPr>
          <p:spPr>
            <a:xfrm>
              <a:off x="3389376" y="2813304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9" name="Graphic 18" descr="Target Audience with solid fill">
              <a:extLst>
                <a:ext uri="{FF2B5EF4-FFF2-40B4-BE49-F238E27FC236}">
                  <a16:creationId xmlns:a16="http://schemas.microsoft.com/office/drawing/2014/main" id="{86495E41-5692-1B32-652D-99E92A42FB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b="11455"/>
            <a:stretch/>
          </p:blipFill>
          <p:spPr>
            <a:xfrm>
              <a:off x="3736596" y="3005328"/>
              <a:ext cx="1800000" cy="1593804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BFC9E80-BC53-F2D6-FF9A-46E8CBBACB37}"/>
                </a:ext>
              </a:extLst>
            </p:cNvPr>
            <p:cNvSpPr txBox="1"/>
            <p:nvPr/>
          </p:nvSpPr>
          <p:spPr>
            <a:xfrm>
              <a:off x="3362352" y="2820662"/>
              <a:ext cx="2547024" cy="369332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>
                <a:defRPr spc="-20"/>
              </a:lvl1pPr>
            </a:lstStyle>
            <a:p>
              <a:r>
                <a:rPr lang="en-GB" dirty="0">
                  <a:solidFill>
                    <a:schemeClr val="bg1"/>
                  </a:solidFill>
                </a:rPr>
                <a:t>Understand the customer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1650DBF-86DC-B6A7-7D11-E31024A45013}"/>
              </a:ext>
            </a:extLst>
          </p:cNvPr>
          <p:cNvGrpSpPr/>
          <p:nvPr/>
        </p:nvGrpSpPr>
        <p:grpSpPr>
          <a:xfrm>
            <a:off x="3389376" y="4819830"/>
            <a:ext cx="2522880" cy="1811250"/>
            <a:chOff x="3389376" y="4819830"/>
            <a:chExt cx="2522880" cy="18112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C609CB-B43C-5218-B048-2C995D2AB262}"/>
                </a:ext>
              </a:extLst>
            </p:cNvPr>
            <p:cNvSpPr/>
            <p:nvPr/>
          </p:nvSpPr>
          <p:spPr>
            <a:xfrm>
              <a:off x="3389376" y="4831080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8" name="Graphic 17" descr="Ui Ux with solid fill">
              <a:extLst>
                <a:ext uri="{FF2B5EF4-FFF2-40B4-BE49-F238E27FC236}">
                  <a16:creationId xmlns:a16="http://schemas.microsoft.com/office/drawing/2014/main" id="{F9DE1278-D57E-0571-C576-61209BD9C6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b="11013"/>
            <a:stretch/>
          </p:blipFill>
          <p:spPr>
            <a:xfrm>
              <a:off x="3825864" y="5121132"/>
              <a:ext cx="1620000" cy="1441593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6A65676-2B04-28F5-185D-E0F2707F83CF}"/>
                </a:ext>
              </a:extLst>
            </p:cNvPr>
            <p:cNvSpPr txBox="1"/>
            <p:nvPr/>
          </p:nvSpPr>
          <p:spPr>
            <a:xfrm>
              <a:off x="3392256" y="481983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Design &amp; graphic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66A1B51-E132-FF81-4EE7-76C097726F35}"/>
              </a:ext>
            </a:extLst>
          </p:cNvPr>
          <p:cNvGrpSpPr/>
          <p:nvPr/>
        </p:nvGrpSpPr>
        <p:grpSpPr>
          <a:xfrm>
            <a:off x="6160008" y="782060"/>
            <a:ext cx="2525234" cy="1813468"/>
            <a:chOff x="6160008" y="782060"/>
            <a:chExt cx="2525234" cy="181346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D69E71-D056-BB74-0C5B-FEB8290367F5}"/>
                </a:ext>
              </a:extLst>
            </p:cNvPr>
            <p:cNvSpPr/>
            <p:nvPr/>
          </p:nvSpPr>
          <p:spPr>
            <a:xfrm>
              <a:off x="6165242" y="795528"/>
              <a:ext cx="2520000" cy="1800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0" name="Graphic 19" descr="Magnifying glass with solid fill">
              <a:extLst>
                <a:ext uri="{FF2B5EF4-FFF2-40B4-BE49-F238E27FC236}">
                  <a16:creationId xmlns:a16="http://schemas.microsoft.com/office/drawing/2014/main" id="{07FFA125-8192-A06F-F634-7ED54B290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99840" y="1124712"/>
              <a:ext cx="1440000" cy="14400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B11C253-3CBE-A28E-2E06-D9253B54F3EE}"/>
                </a:ext>
              </a:extLst>
            </p:cNvPr>
            <p:cNvSpPr txBox="1"/>
            <p:nvPr/>
          </p:nvSpPr>
          <p:spPr>
            <a:xfrm>
              <a:off x="6160008" y="782060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Research / Fact finding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DEEE895-0AC1-EA33-D66E-29CE5D31C633}"/>
              </a:ext>
            </a:extLst>
          </p:cNvPr>
          <p:cNvGrpSpPr/>
          <p:nvPr/>
        </p:nvGrpSpPr>
        <p:grpSpPr>
          <a:xfrm>
            <a:off x="6135984" y="2802468"/>
            <a:ext cx="2559672" cy="1823868"/>
            <a:chOff x="6135984" y="2802468"/>
            <a:chExt cx="2559672" cy="182386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A2CA697-4422-5D19-28BA-3BE4EE9172A1}"/>
                </a:ext>
              </a:extLst>
            </p:cNvPr>
            <p:cNvSpPr/>
            <p:nvPr/>
          </p:nvSpPr>
          <p:spPr>
            <a:xfrm>
              <a:off x="6175656" y="2826336"/>
              <a:ext cx="2520000" cy="180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7" name="Graphic 16" descr="Storytelling with solid fill">
              <a:extLst>
                <a:ext uri="{FF2B5EF4-FFF2-40B4-BE49-F238E27FC236}">
                  <a16:creationId xmlns:a16="http://schemas.microsoft.com/office/drawing/2014/main" id="{5C39B51C-7880-C5B0-6DFC-FC80E462D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798936" y="3411132"/>
              <a:ext cx="1188000" cy="1188000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F113CAD-D4FB-AB91-8ED5-CE9A8D29CF33}"/>
                </a:ext>
              </a:extLst>
            </p:cNvPr>
            <p:cNvSpPr txBox="1"/>
            <p:nvPr/>
          </p:nvSpPr>
          <p:spPr>
            <a:xfrm>
              <a:off x="6135984" y="2802468"/>
              <a:ext cx="2520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Storytelling / Build Compelling narrative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13D8F3-5A24-421F-CF09-59637EC05F0D}"/>
              </a:ext>
            </a:extLst>
          </p:cNvPr>
          <p:cNvGrpSpPr/>
          <p:nvPr/>
        </p:nvGrpSpPr>
        <p:grpSpPr>
          <a:xfrm>
            <a:off x="6160008" y="4831080"/>
            <a:ext cx="2572152" cy="1800000"/>
            <a:chOff x="6160008" y="4831080"/>
            <a:chExt cx="2572152" cy="180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F361479-E13C-AACE-B2E6-B989F639B0FB}"/>
                </a:ext>
              </a:extLst>
            </p:cNvPr>
            <p:cNvSpPr/>
            <p:nvPr/>
          </p:nvSpPr>
          <p:spPr>
            <a:xfrm>
              <a:off x="6160008" y="4831080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027A621-0EB3-D039-06AB-0A9BA29039DB}"/>
                </a:ext>
              </a:extLst>
            </p:cNvPr>
            <p:cNvGrpSpPr/>
            <p:nvPr/>
          </p:nvGrpSpPr>
          <p:grpSpPr>
            <a:xfrm>
              <a:off x="6671265" y="5295901"/>
              <a:ext cx="1620000" cy="1260000"/>
              <a:chOff x="6492936" y="4847504"/>
              <a:chExt cx="1800000" cy="1535907"/>
            </a:xfrm>
          </p:grpSpPr>
          <p:pic>
            <p:nvPicPr>
              <p:cNvPr id="24" name="Graphic 23" descr="Supply And Demand with solid fill">
                <a:extLst>
                  <a:ext uri="{FF2B5EF4-FFF2-40B4-BE49-F238E27FC236}">
                    <a16:creationId xmlns:a16="http://schemas.microsoft.com/office/drawing/2014/main" id="{311BF82F-BCD8-140A-7B2A-D972F4FEB6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 t="8533" b="6139"/>
              <a:stretch/>
            </p:blipFill>
            <p:spPr>
              <a:xfrm>
                <a:off x="6492936" y="4847504"/>
                <a:ext cx="1800000" cy="1535907"/>
              </a:xfrm>
              <a:prstGeom prst="rect">
                <a:avLst/>
              </a:prstGeom>
            </p:spPr>
          </p:pic>
          <p:pic>
            <p:nvPicPr>
              <p:cNvPr id="25" name="Graphic 24" descr="Pound with solid fill">
                <a:extLst>
                  <a:ext uri="{FF2B5EF4-FFF2-40B4-BE49-F238E27FC236}">
                    <a16:creationId xmlns:a16="http://schemas.microsoft.com/office/drawing/2014/main" id="{0797D3C9-FE47-94C5-128F-2C9C24F778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7191474" y="5157816"/>
                <a:ext cx="402924" cy="402924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6ABFE57-56A7-28C2-9B69-BAB0B6521322}"/>
                </a:ext>
              </a:extLst>
            </p:cNvPr>
            <p:cNvSpPr txBox="1"/>
            <p:nvPr/>
          </p:nvSpPr>
          <p:spPr>
            <a:xfrm>
              <a:off x="6212160" y="4840717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Pricing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585BB955-9700-F703-A1D8-8CFE9B548D0C}"/>
              </a:ext>
            </a:extLst>
          </p:cNvPr>
          <p:cNvSpPr txBox="1"/>
          <p:nvPr/>
        </p:nvSpPr>
        <p:spPr>
          <a:xfrm>
            <a:off x="9019032" y="797938"/>
            <a:ext cx="25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un workshops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and meeting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E17D413-718F-DC37-4EC6-DAD79CF556EE}"/>
              </a:ext>
            </a:extLst>
          </p:cNvPr>
          <p:cNvGrpSpPr/>
          <p:nvPr/>
        </p:nvGrpSpPr>
        <p:grpSpPr>
          <a:xfrm>
            <a:off x="9010608" y="2826336"/>
            <a:ext cx="2525376" cy="1806516"/>
            <a:chOff x="9010608" y="2826336"/>
            <a:chExt cx="2525376" cy="180651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5BA59ED-2CE8-EB9C-038D-B3925F61D56B}"/>
                </a:ext>
              </a:extLst>
            </p:cNvPr>
            <p:cNvSpPr/>
            <p:nvPr/>
          </p:nvSpPr>
          <p:spPr>
            <a:xfrm>
              <a:off x="9015984" y="2826336"/>
              <a:ext cx="2520000" cy="180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Graphic 20" descr="Contract with solid fill">
              <a:extLst>
                <a:ext uri="{FF2B5EF4-FFF2-40B4-BE49-F238E27FC236}">
                  <a16:creationId xmlns:a16="http://schemas.microsoft.com/office/drawing/2014/main" id="{2BCAB711-3B16-5C29-BCF7-DC62DD70E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9555984" y="3192852"/>
              <a:ext cx="1440000" cy="14400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AF7815E-A75F-6108-F47B-9B44ACBEBB54}"/>
                </a:ext>
              </a:extLst>
            </p:cNvPr>
            <p:cNvSpPr txBox="1"/>
            <p:nvPr/>
          </p:nvSpPr>
          <p:spPr>
            <a:xfrm>
              <a:off x="9010608" y="2834487"/>
              <a:ext cx="252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pc="-50" dirty="0">
                  <a:solidFill>
                    <a:schemeClr val="bg1"/>
                  </a:solidFill>
                </a:rPr>
                <a:t>Contract/Commercials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AFB07FAD-A526-35AD-5CA8-3D44154E3856}"/>
              </a:ext>
            </a:extLst>
          </p:cNvPr>
          <p:cNvSpPr txBox="1"/>
          <p:nvPr/>
        </p:nvSpPr>
        <p:spPr>
          <a:xfrm>
            <a:off x="9011154" y="4837863"/>
            <a:ext cx="25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evelop Win Strategies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2DEDA8E-8285-D3CC-6EE3-32C8F00E0A27}"/>
              </a:ext>
            </a:extLst>
          </p:cNvPr>
          <p:cNvGrpSpPr/>
          <p:nvPr/>
        </p:nvGrpSpPr>
        <p:grpSpPr>
          <a:xfrm>
            <a:off x="576072" y="795528"/>
            <a:ext cx="2520000" cy="1800000"/>
            <a:chOff x="576072" y="795528"/>
            <a:chExt cx="2520000" cy="180000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21E02D4-7B76-7D59-BD47-7E296BDC2483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B7162A6-0F83-EEB9-FC5D-73765D88EAF6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F699C96-D072-3343-572C-0ACE043FCD9C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D1CDBE5D-9407-6B44-0FA1-730F667F9985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15A89488-0A67-431E-7D4B-121C6BB84453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55" name="Freeform 5">
                  <a:extLst>
                    <a:ext uri="{FF2B5EF4-FFF2-40B4-BE49-F238E27FC236}">
                      <a16:creationId xmlns:a16="http://schemas.microsoft.com/office/drawing/2014/main" id="{5BFED596-FE0B-9D37-E3A1-3AFC911BD7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56" name="Freeform 6">
                  <a:extLst>
                    <a:ext uri="{FF2B5EF4-FFF2-40B4-BE49-F238E27FC236}">
                      <a16:creationId xmlns:a16="http://schemas.microsoft.com/office/drawing/2014/main" id="{D1C9A4F8-4030-D013-E49E-241D1748BD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57" name="Freeform 7">
                  <a:extLst>
                    <a:ext uri="{FF2B5EF4-FFF2-40B4-BE49-F238E27FC236}">
                      <a16:creationId xmlns:a16="http://schemas.microsoft.com/office/drawing/2014/main" id="{552098F1-84C0-8DDC-E4C9-0DB82E18E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58" name="Freeform 8">
                  <a:extLst>
                    <a:ext uri="{FF2B5EF4-FFF2-40B4-BE49-F238E27FC236}">
                      <a16:creationId xmlns:a16="http://schemas.microsoft.com/office/drawing/2014/main" id="{70003E55-5903-7A3A-E36A-E19E207C89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59" name="Freeform 9">
                  <a:extLst>
                    <a:ext uri="{FF2B5EF4-FFF2-40B4-BE49-F238E27FC236}">
                      <a16:creationId xmlns:a16="http://schemas.microsoft.com/office/drawing/2014/main" id="{96FF887F-7DBD-A920-3289-A29F480F9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60" name="Freeform 10">
                  <a:extLst>
                    <a:ext uri="{FF2B5EF4-FFF2-40B4-BE49-F238E27FC236}">
                      <a16:creationId xmlns:a16="http://schemas.microsoft.com/office/drawing/2014/main" id="{4F5E6E48-E7B6-8D72-B0BA-7BD3350829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61" name="Freeform 11">
                  <a:extLst>
                    <a:ext uri="{FF2B5EF4-FFF2-40B4-BE49-F238E27FC236}">
                      <a16:creationId xmlns:a16="http://schemas.microsoft.com/office/drawing/2014/main" id="{15121C2B-48F6-E458-4303-64FC42B2DE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62" name="Freeform 12">
                  <a:extLst>
                    <a:ext uri="{FF2B5EF4-FFF2-40B4-BE49-F238E27FC236}">
                      <a16:creationId xmlns:a16="http://schemas.microsoft.com/office/drawing/2014/main" id="{C552F8FC-390F-F589-C503-43A21CF326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63" name="Freeform 13">
                  <a:extLst>
                    <a:ext uri="{FF2B5EF4-FFF2-40B4-BE49-F238E27FC236}">
                      <a16:creationId xmlns:a16="http://schemas.microsoft.com/office/drawing/2014/main" id="{4DD361F8-6E16-F7CE-107D-B231A2BC3C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64" name="Freeform 14">
                  <a:extLst>
                    <a:ext uri="{FF2B5EF4-FFF2-40B4-BE49-F238E27FC236}">
                      <a16:creationId xmlns:a16="http://schemas.microsoft.com/office/drawing/2014/main" id="{C1D6967D-B151-E1A6-FC24-3FA1F76A6B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2D21443-ADAA-EC0F-F938-DE73FF662498}"/>
              </a:ext>
            </a:extLst>
          </p:cNvPr>
          <p:cNvGrpSpPr/>
          <p:nvPr/>
        </p:nvGrpSpPr>
        <p:grpSpPr>
          <a:xfrm>
            <a:off x="585855" y="2813304"/>
            <a:ext cx="2520000" cy="1800000"/>
            <a:chOff x="576072" y="795528"/>
            <a:chExt cx="2520000" cy="1800000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AF6FDB9-1097-1A46-2737-3A1CB036037C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C15A389-4056-E333-8F1A-B3CABE57BB6C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1BBDC8BA-A530-A830-2A74-6308A802D340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4910A491-F421-88BE-670F-5D110E021135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054C49FB-B395-EA94-A06F-AE8724418B8F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88" name="Freeform 5">
                  <a:extLst>
                    <a:ext uri="{FF2B5EF4-FFF2-40B4-BE49-F238E27FC236}">
                      <a16:creationId xmlns:a16="http://schemas.microsoft.com/office/drawing/2014/main" id="{7CE4831F-B890-6A7D-4E70-E3BC90B84A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A2B56331-7604-E187-7763-DB708B6324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DDD7DDD1-7D12-BA52-0993-63B16E1AAA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AFB468D1-9738-6289-D73D-C2BBC643D6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2" name="Freeform 9">
                  <a:extLst>
                    <a:ext uri="{FF2B5EF4-FFF2-40B4-BE49-F238E27FC236}">
                      <a16:creationId xmlns:a16="http://schemas.microsoft.com/office/drawing/2014/main" id="{D99C2BE5-8836-2D6F-C94C-3A9E213D60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3" name="Freeform 10">
                  <a:extLst>
                    <a:ext uri="{FF2B5EF4-FFF2-40B4-BE49-F238E27FC236}">
                      <a16:creationId xmlns:a16="http://schemas.microsoft.com/office/drawing/2014/main" id="{7FD94D12-4803-7E13-8248-1125C2917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4" name="Freeform 11">
                  <a:extLst>
                    <a:ext uri="{FF2B5EF4-FFF2-40B4-BE49-F238E27FC236}">
                      <a16:creationId xmlns:a16="http://schemas.microsoft.com/office/drawing/2014/main" id="{6934E684-1D5E-CBB5-C5F9-E17D98A5DA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5" name="Freeform 12">
                  <a:extLst>
                    <a:ext uri="{FF2B5EF4-FFF2-40B4-BE49-F238E27FC236}">
                      <a16:creationId xmlns:a16="http://schemas.microsoft.com/office/drawing/2014/main" id="{F05B07C2-6823-2270-B8C3-C4668CEE68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6" name="Freeform 13">
                  <a:extLst>
                    <a:ext uri="{FF2B5EF4-FFF2-40B4-BE49-F238E27FC236}">
                      <a16:creationId xmlns:a16="http://schemas.microsoft.com/office/drawing/2014/main" id="{D7E6EC32-D74A-4C19-0C54-3037733E0A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97" name="Freeform 14">
                  <a:extLst>
                    <a:ext uri="{FF2B5EF4-FFF2-40B4-BE49-F238E27FC236}">
                      <a16:creationId xmlns:a16="http://schemas.microsoft.com/office/drawing/2014/main" id="{BF01C3F6-1384-12C4-7ACA-6CC4AA7227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4E5A2CA-EA48-2D59-FD11-7FAD6CF4BE54}"/>
              </a:ext>
            </a:extLst>
          </p:cNvPr>
          <p:cNvGrpSpPr/>
          <p:nvPr/>
        </p:nvGrpSpPr>
        <p:grpSpPr>
          <a:xfrm>
            <a:off x="3396539" y="795528"/>
            <a:ext cx="2520000" cy="1800000"/>
            <a:chOff x="576072" y="795528"/>
            <a:chExt cx="2520000" cy="1800000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DCE1F03D-011D-1981-A266-90AD55AB98BB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D9F205C-7E2C-BB68-8ADA-C76444061626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43526746-8598-9184-97FD-DCD5B94976BB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57C5236C-83B0-3EB6-9334-1DA1D4691C6E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31F046F4-C05A-D6E9-8A95-25A5729A195B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04" name="Freeform 5">
                  <a:extLst>
                    <a:ext uri="{FF2B5EF4-FFF2-40B4-BE49-F238E27FC236}">
                      <a16:creationId xmlns:a16="http://schemas.microsoft.com/office/drawing/2014/main" id="{CEE21299-496A-85D9-22BD-E631EB85B0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05" name="Freeform 6">
                  <a:extLst>
                    <a:ext uri="{FF2B5EF4-FFF2-40B4-BE49-F238E27FC236}">
                      <a16:creationId xmlns:a16="http://schemas.microsoft.com/office/drawing/2014/main" id="{B6E7F564-AB80-38BA-0166-7342E940F10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06" name="Freeform 7">
                  <a:extLst>
                    <a:ext uri="{FF2B5EF4-FFF2-40B4-BE49-F238E27FC236}">
                      <a16:creationId xmlns:a16="http://schemas.microsoft.com/office/drawing/2014/main" id="{4ED205DC-CA63-6F47-94CF-37D7F57BA1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07" name="Freeform 8">
                  <a:extLst>
                    <a:ext uri="{FF2B5EF4-FFF2-40B4-BE49-F238E27FC236}">
                      <a16:creationId xmlns:a16="http://schemas.microsoft.com/office/drawing/2014/main" id="{7B812C7D-5753-414D-D0EE-0E693E11F0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08" name="Freeform 9">
                  <a:extLst>
                    <a:ext uri="{FF2B5EF4-FFF2-40B4-BE49-F238E27FC236}">
                      <a16:creationId xmlns:a16="http://schemas.microsoft.com/office/drawing/2014/main" id="{BF92F5E3-2A5E-301B-B98E-FCAE8796B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09" name="Freeform 10">
                  <a:extLst>
                    <a:ext uri="{FF2B5EF4-FFF2-40B4-BE49-F238E27FC236}">
                      <a16:creationId xmlns:a16="http://schemas.microsoft.com/office/drawing/2014/main" id="{8B6459D4-F8D6-10E3-57EB-13C4B5AB0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10" name="Freeform 11">
                  <a:extLst>
                    <a:ext uri="{FF2B5EF4-FFF2-40B4-BE49-F238E27FC236}">
                      <a16:creationId xmlns:a16="http://schemas.microsoft.com/office/drawing/2014/main" id="{0AFBBF17-F1F4-8BC8-C50C-31E57E1F4D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11" name="Freeform 12">
                  <a:extLst>
                    <a:ext uri="{FF2B5EF4-FFF2-40B4-BE49-F238E27FC236}">
                      <a16:creationId xmlns:a16="http://schemas.microsoft.com/office/drawing/2014/main" id="{2E59A611-3C98-5C4B-9EE2-E8D156594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12" name="Freeform 13">
                  <a:extLst>
                    <a:ext uri="{FF2B5EF4-FFF2-40B4-BE49-F238E27FC236}">
                      <a16:creationId xmlns:a16="http://schemas.microsoft.com/office/drawing/2014/main" id="{E206D150-557A-9F25-903A-03D7370464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13" name="Freeform 14">
                  <a:extLst>
                    <a:ext uri="{FF2B5EF4-FFF2-40B4-BE49-F238E27FC236}">
                      <a16:creationId xmlns:a16="http://schemas.microsoft.com/office/drawing/2014/main" id="{14790C2D-5F69-E489-7DCB-9D022B24F3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BECF9A9-526F-6021-2650-A706E36B51A2}"/>
              </a:ext>
            </a:extLst>
          </p:cNvPr>
          <p:cNvGrpSpPr/>
          <p:nvPr/>
        </p:nvGrpSpPr>
        <p:grpSpPr>
          <a:xfrm>
            <a:off x="3385647" y="2814697"/>
            <a:ext cx="2520000" cy="1800000"/>
            <a:chOff x="576072" y="795528"/>
            <a:chExt cx="2520000" cy="1800000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157F869B-99A9-D9B7-52AB-1B3027277F3A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68A2F6B6-64EA-B0AD-FA0A-F00AC361E734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3E10C1C5-738C-C658-E3FA-AD516138C284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5F3DE7CD-A60F-0284-000B-13D607D13B7C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5FBC910-80A0-66F0-E70E-F94D46C6D142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20" name="Freeform 5">
                  <a:extLst>
                    <a:ext uri="{FF2B5EF4-FFF2-40B4-BE49-F238E27FC236}">
                      <a16:creationId xmlns:a16="http://schemas.microsoft.com/office/drawing/2014/main" id="{4332024C-D434-6587-5DE8-1203963D3D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1" name="Freeform 6">
                  <a:extLst>
                    <a:ext uri="{FF2B5EF4-FFF2-40B4-BE49-F238E27FC236}">
                      <a16:creationId xmlns:a16="http://schemas.microsoft.com/office/drawing/2014/main" id="{6BE9C969-26FE-21FD-529A-CF7390101A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2" name="Freeform 7">
                  <a:extLst>
                    <a:ext uri="{FF2B5EF4-FFF2-40B4-BE49-F238E27FC236}">
                      <a16:creationId xmlns:a16="http://schemas.microsoft.com/office/drawing/2014/main" id="{F2472DC9-AAA7-4EC4-AA58-7DE1EC7B22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3" name="Freeform 8">
                  <a:extLst>
                    <a:ext uri="{FF2B5EF4-FFF2-40B4-BE49-F238E27FC236}">
                      <a16:creationId xmlns:a16="http://schemas.microsoft.com/office/drawing/2014/main" id="{F7458C7C-3524-7FAD-D998-184D8E5A94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4" name="Freeform 9">
                  <a:extLst>
                    <a:ext uri="{FF2B5EF4-FFF2-40B4-BE49-F238E27FC236}">
                      <a16:creationId xmlns:a16="http://schemas.microsoft.com/office/drawing/2014/main" id="{FE23A2E7-46F3-64BA-4F51-57B094BDF9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5" name="Freeform 10">
                  <a:extLst>
                    <a:ext uri="{FF2B5EF4-FFF2-40B4-BE49-F238E27FC236}">
                      <a16:creationId xmlns:a16="http://schemas.microsoft.com/office/drawing/2014/main" id="{7564B028-CBE6-16F2-A5E7-5078AF3B1B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6" name="Freeform 11">
                  <a:extLst>
                    <a:ext uri="{FF2B5EF4-FFF2-40B4-BE49-F238E27FC236}">
                      <a16:creationId xmlns:a16="http://schemas.microsoft.com/office/drawing/2014/main" id="{DF7AA244-289B-7AED-128C-259C993A90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7" name="Freeform 12">
                  <a:extLst>
                    <a:ext uri="{FF2B5EF4-FFF2-40B4-BE49-F238E27FC236}">
                      <a16:creationId xmlns:a16="http://schemas.microsoft.com/office/drawing/2014/main" id="{06B8FCDA-5E34-4813-BFFB-40C43EE390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8" name="Freeform 13">
                  <a:extLst>
                    <a:ext uri="{FF2B5EF4-FFF2-40B4-BE49-F238E27FC236}">
                      <a16:creationId xmlns:a16="http://schemas.microsoft.com/office/drawing/2014/main" id="{7DAA3774-C231-E3ED-75A1-E5C0D1C04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29" name="Freeform 14">
                  <a:extLst>
                    <a:ext uri="{FF2B5EF4-FFF2-40B4-BE49-F238E27FC236}">
                      <a16:creationId xmlns:a16="http://schemas.microsoft.com/office/drawing/2014/main" id="{92B8AB94-4200-F854-289C-414B53E6E7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DDE4C79-CF31-2B95-076B-B531258A0319}"/>
              </a:ext>
            </a:extLst>
          </p:cNvPr>
          <p:cNvGrpSpPr/>
          <p:nvPr/>
        </p:nvGrpSpPr>
        <p:grpSpPr>
          <a:xfrm>
            <a:off x="3405909" y="4822622"/>
            <a:ext cx="2520000" cy="1800000"/>
            <a:chOff x="576072" y="795528"/>
            <a:chExt cx="2520000" cy="1800000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A34DF93C-F08D-D009-FD85-B095CFE71CE9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A2741325-72ED-57E0-EBC7-C852C1C9AED1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E369D71-C061-7081-054C-B5DD527E100D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8DC13E5-8C07-C5E2-3527-553C3A92FFE3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45ABBD76-D590-4A49-4CE4-F27C8BD98663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36" name="Freeform 5">
                  <a:extLst>
                    <a:ext uri="{FF2B5EF4-FFF2-40B4-BE49-F238E27FC236}">
                      <a16:creationId xmlns:a16="http://schemas.microsoft.com/office/drawing/2014/main" id="{2499C4FF-5315-1081-5E62-D7C3C501EEA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37" name="Freeform 6">
                  <a:extLst>
                    <a:ext uri="{FF2B5EF4-FFF2-40B4-BE49-F238E27FC236}">
                      <a16:creationId xmlns:a16="http://schemas.microsoft.com/office/drawing/2014/main" id="{4F8BCE6E-1B49-0FBA-0ABC-F226DF9185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38" name="Freeform 7">
                  <a:extLst>
                    <a:ext uri="{FF2B5EF4-FFF2-40B4-BE49-F238E27FC236}">
                      <a16:creationId xmlns:a16="http://schemas.microsoft.com/office/drawing/2014/main" id="{0E31480C-39AB-9C60-AFF1-4E9D4759E9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39" name="Freeform 8">
                  <a:extLst>
                    <a:ext uri="{FF2B5EF4-FFF2-40B4-BE49-F238E27FC236}">
                      <a16:creationId xmlns:a16="http://schemas.microsoft.com/office/drawing/2014/main" id="{B9610E85-7EBC-4C1E-173B-6FFC3E3114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0" name="Freeform 9">
                  <a:extLst>
                    <a:ext uri="{FF2B5EF4-FFF2-40B4-BE49-F238E27FC236}">
                      <a16:creationId xmlns:a16="http://schemas.microsoft.com/office/drawing/2014/main" id="{8471CFE8-91E3-2CCF-BFD4-44EA48F15D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1" name="Freeform 10">
                  <a:extLst>
                    <a:ext uri="{FF2B5EF4-FFF2-40B4-BE49-F238E27FC236}">
                      <a16:creationId xmlns:a16="http://schemas.microsoft.com/office/drawing/2014/main" id="{D7A063AA-E102-4CC2-E2DB-C7AE76A221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2" name="Freeform 11">
                  <a:extLst>
                    <a:ext uri="{FF2B5EF4-FFF2-40B4-BE49-F238E27FC236}">
                      <a16:creationId xmlns:a16="http://schemas.microsoft.com/office/drawing/2014/main" id="{8ADF3EEA-EA95-7E56-2163-F4549D9595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3" name="Freeform 12">
                  <a:extLst>
                    <a:ext uri="{FF2B5EF4-FFF2-40B4-BE49-F238E27FC236}">
                      <a16:creationId xmlns:a16="http://schemas.microsoft.com/office/drawing/2014/main" id="{9E8038BB-CAAA-EF88-1AE8-D74311A80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4" name="Freeform 13">
                  <a:extLst>
                    <a:ext uri="{FF2B5EF4-FFF2-40B4-BE49-F238E27FC236}">
                      <a16:creationId xmlns:a16="http://schemas.microsoft.com/office/drawing/2014/main" id="{A48E9658-61C0-0CF4-316C-40B29CFB9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45" name="Freeform 14">
                  <a:extLst>
                    <a:ext uri="{FF2B5EF4-FFF2-40B4-BE49-F238E27FC236}">
                      <a16:creationId xmlns:a16="http://schemas.microsoft.com/office/drawing/2014/main" id="{AF667C9E-A70C-0B3B-A1D6-771CD66C4A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D5CF4EA4-2479-8D37-E068-6F6BC51BF57A}"/>
              </a:ext>
            </a:extLst>
          </p:cNvPr>
          <p:cNvGrpSpPr/>
          <p:nvPr/>
        </p:nvGrpSpPr>
        <p:grpSpPr>
          <a:xfrm>
            <a:off x="6166806" y="4843120"/>
            <a:ext cx="2520000" cy="1800000"/>
            <a:chOff x="576072" y="795528"/>
            <a:chExt cx="2520000" cy="1800000"/>
          </a:xfrm>
        </p:grpSpPr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F6153E85-D063-DFFD-9CA4-0F369F7EA2E9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7E9F4B2-DA4C-781D-09A9-52A1E992D66A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E6082345-5A4C-437E-CCAE-60131466D7C2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773D51BA-5B1A-C75A-9D6E-26FC16DA5783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615696C6-FB19-C0C6-A8E9-4F6E13289FA2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52" name="Freeform 5">
                  <a:extLst>
                    <a:ext uri="{FF2B5EF4-FFF2-40B4-BE49-F238E27FC236}">
                      <a16:creationId xmlns:a16="http://schemas.microsoft.com/office/drawing/2014/main" id="{F178964D-1832-11C5-C047-A7339173CE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3" name="Freeform 6">
                  <a:extLst>
                    <a:ext uri="{FF2B5EF4-FFF2-40B4-BE49-F238E27FC236}">
                      <a16:creationId xmlns:a16="http://schemas.microsoft.com/office/drawing/2014/main" id="{FD950A26-EFA7-7479-A004-9E81DB5EF1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4" name="Freeform 7">
                  <a:extLst>
                    <a:ext uri="{FF2B5EF4-FFF2-40B4-BE49-F238E27FC236}">
                      <a16:creationId xmlns:a16="http://schemas.microsoft.com/office/drawing/2014/main" id="{FA544BEC-F24D-F3D4-FCAE-E448E1B98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5" name="Freeform 8">
                  <a:extLst>
                    <a:ext uri="{FF2B5EF4-FFF2-40B4-BE49-F238E27FC236}">
                      <a16:creationId xmlns:a16="http://schemas.microsoft.com/office/drawing/2014/main" id="{4BD17817-8FB5-7B6B-BB53-39B9AFD113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6" name="Freeform 9">
                  <a:extLst>
                    <a:ext uri="{FF2B5EF4-FFF2-40B4-BE49-F238E27FC236}">
                      <a16:creationId xmlns:a16="http://schemas.microsoft.com/office/drawing/2014/main" id="{687D911E-7AE7-3DA5-044B-5D27F837D5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7" name="Freeform 10">
                  <a:extLst>
                    <a:ext uri="{FF2B5EF4-FFF2-40B4-BE49-F238E27FC236}">
                      <a16:creationId xmlns:a16="http://schemas.microsoft.com/office/drawing/2014/main" id="{EE49AB9D-4460-878C-5301-ABF285A82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8" name="Freeform 11">
                  <a:extLst>
                    <a:ext uri="{FF2B5EF4-FFF2-40B4-BE49-F238E27FC236}">
                      <a16:creationId xmlns:a16="http://schemas.microsoft.com/office/drawing/2014/main" id="{4DA53586-D39C-248E-5C96-AB4EA1DF6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59" name="Freeform 12">
                  <a:extLst>
                    <a:ext uri="{FF2B5EF4-FFF2-40B4-BE49-F238E27FC236}">
                      <a16:creationId xmlns:a16="http://schemas.microsoft.com/office/drawing/2014/main" id="{1EB06AF4-0D4E-0277-E3F3-53B25DB993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60" name="Freeform 13">
                  <a:extLst>
                    <a:ext uri="{FF2B5EF4-FFF2-40B4-BE49-F238E27FC236}">
                      <a16:creationId xmlns:a16="http://schemas.microsoft.com/office/drawing/2014/main" id="{2903D9AF-A33C-3288-920B-956AD95F9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61" name="Freeform 14">
                  <a:extLst>
                    <a:ext uri="{FF2B5EF4-FFF2-40B4-BE49-F238E27FC236}">
                      <a16:creationId xmlns:a16="http://schemas.microsoft.com/office/drawing/2014/main" id="{B2C0CA72-7E54-F474-282C-F9B2DBCFD3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6ACFDDB7-D8DE-53E6-9009-73FBFDACD7C3}"/>
              </a:ext>
            </a:extLst>
          </p:cNvPr>
          <p:cNvGrpSpPr/>
          <p:nvPr/>
        </p:nvGrpSpPr>
        <p:grpSpPr>
          <a:xfrm>
            <a:off x="6166806" y="795528"/>
            <a:ext cx="2520000" cy="1800000"/>
            <a:chOff x="576072" y="795528"/>
            <a:chExt cx="2520000" cy="1800000"/>
          </a:xfrm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43A92E18-45F7-06CB-95E0-E637DEE3F1AD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04A17A8-ADFB-FDC0-3E65-3D8493921480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30E7E5A0-9781-4284-3E83-A3BC8BDBA47C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B07AC28A-1A71-A17C-6670-065E425A79AB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184EA9DE-EAF1-C038-5859-4F6E8609581D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68" name="Freeform 5">
                  <a:extLst>
                    <a:ext uri="{FF2B5EF4-FFF2-40B4-BE49-F238E27FC236}">
                      <a16:creationId xmlns:a16="http://schemas.microsoft.com/office/drawing/2014/main" id="{9C8A0EEC-B35B-D1A6-453C-FA2DDF237C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69" name="Freeform 6">
                  <a:extLst>
                    <a:ext uri="{FF2B5EF4-FFF2-40B4-BE49-F238E27FC236}">
                      <a16:creationId xmlns:a16="http://schemas.microsoft.com/office/drawing/2014/main" id="{CA75D7AF-36BF-2105-3E67-8AC545E833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0" name="Freeform 7">
                  <a:extLst>
                    <a:ext uri="{FF2B5EF4-FFF2-40B4-BE49-F238E27FC236}">
                      <a16:creationId xmlns:a16="http://schemas.microsoft.com/office/drawing/2014/main" id="{7CC19892-0B61-CC76-3F57-8B847A6EF5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1" name="Freeform 8">
                  <a:extLst>
                    <a:ext uri="{FF2B5EF4-FFF2-40B4-BE49-F238E27FC236}">
                      <a16:creationId xmlns:a16="http://schemas.microsoft.com/office/drawing/2014/main" id="{8174C74A-C8C7-62ED-F601-413464DA824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2" name="Freeform 9">
                  <a:extLst>
                    <a:ext uri="{FF2B5EF4-FFF2-40B4-BE49-F238E27FC236}">
                      <a16:creationId xmlns:a16="http://schemas.microsoft.com/office/drawing/2014/main" id="{4BCE4B20-1EEF-C9CC-04CC-C92C4A13D2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3" name="Freeform 10">
                  <a:extLst>
                    <a:ext uri="{FF2B5EF4-FFF2-40B4-BE49-F238E27FC236}">
                      <a16:creationId xmlns:a16="http://schemas.microsoft.com/office/drawing/2014/main" id="{EF934177-EC10-9C16-B9FD-857A406ED9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4" name="Freeform 11">
                  <a:extLst>
                    <a:ext uri="{FF2B5EF4-FFF2-40B4-BE49-F238E27FC236}">
                      <a16:creationId xmlns:a16="http://schemas.microsoft.com/office/drawing/2014/main" id="{4CCA6F0B-E0E4-E0CC-7FA6-97DD84AF58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5" name="Freeform 12">
                  <a:extLst>
                    <a:ext uri="{FF2B5EF4-FFF2-40B4-BE49-F238E27FC236}">
                      <a16:creationId xmlns:a16="http://schemas.microsoft.com/office/drawing/2014/main" id="{4A18260E-1134-A603-D9A2-33025C36B2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6" name="Freeform 13">
                  <a:extLst>
                    <a:ext uri="{FF2B5EF4-FFF2-40B4-BE49-F238E27FC236}">
                      <a16:creationId xmlns:a16="http://schemas.microsoft.com/office/drawing/2014/main" id="{5A8507B9-5C3A-6365-6C29-B8ABC6CDE8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77" name="Freeform 14">
                  <a:extLst>
                    <a:ext uri="{FF2B5EF4-FFF2-40B4-BE49-F238E27FC236}">
                      <a16:creationId xmlns:a16="http://schemas.microsoft.com/office/drawing/2014/main" id="{9D5A0215-D92B-C397-D113-CD7A2592A2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664B9822-825C-56F6-C483-C6A87392439D}"/>
              </a:ext>
            </a:extLst>
          </p:cNvPr>
          <p:cNvGrpSpPr/>
          <p:nvPr/>
        </p:nvGrpSpPr>
        <p:grpSpPr>
          <a:xfrm>
            <a:off x="9023532" y="4834220"/>
            <a:ext cx="2520000" cy="1800000"/>
            <a:chOff x="576072" y="795528"/>
            <a:chExt cx="2520000" cy="1800000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FED69D6A-D353-853C-376D-3420A416F463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201F2B21-C733-FAFA-7ADD-8E7A4FCE02EC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C0A88A85-9D84-E364-DFA8-E8D1D6D9EAD9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8D4686C7-4327-5106-AB5F-A7E13311FC53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401B54C8-1102-4FE3-6CF4-A1DE86A67532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184" name="Freeform 5">
                  <a:extLst>
                    <a:ext uri="{FF2B5EF4-FFF2-40B4-BE49-F238E27FC236}">
                      <a16:creationId xmlns:a16="http://schemas.microsoft.com/office/drawing/2014/main" id="{F6435268-3684-E39B-98D1-0EE40BFB80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85" name="Freeform 6">
                  <a:extLst>
                    <a:ext uri="{FF2B5EF4-FFF2-40B4-BE49-F238E27FC236}">
                      <a16:creationId xmlns:a16="http://schemas.microsoft.com/office/drawing/2014/main" id="{C76079B8-0C39-7F6B-5CAB-EA094AF4C2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86" name="Freeform 7">
                  <a:extLst>
                    <a:ext uri="{FF2B5EF4-FFF2-40B4-BE49-F238E27FC236}">
                      <a16:creationId xmlns:a16="http://schemas.microsoft.com/office/drawing/2014/main" id="{DC8D927D-AE8C-470D-2781-54F4D8F40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87" name="Freeform 8">
                  <a:extLst>
                    <a:ext uri="{FF2B5EF4-FFF2-40B4-BE49-F238E27FC236}">
                      <a16:creationId xmlns:a16="http://schemas.microsoft.com/office/drawing/2014/main" id="{4A944805-2FD4-56C2-EA79-A4EC5CE1A8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88" name="Freeform 9">
                  <a:extLst>
                    <a:ext uri="{FF2B5EF4-FFF2-40B4-BE49-F238E27FC236}">
                      <a16:creationId xmlns:a16="http://schemas.microsoft.com/office/drawing/2014/main" id="{BE2786DB-134B-1B50-8E66-12A35134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89" name="Freeform 10">
                  <a:extLst>
                    <a:ext uri="{FF2B5EF4-FFF2-40B4-BE49-F238E27FC236}">
                      <a16:creationId xmlns:a16="http://schemas.microsoft.com/office/drawing/2014/main" id="{5D899009-42B6-4378-AF53-80695E3C31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90" name="Freeform 11">
                  <a:extLst>
                    <a:ext uri="{FF2B5EF4-FFF2-40B4-BE49-F238E27FC236}">
                      <a16:creationId xmlns:a16="http://schemas.microsoft.com/office/drawing/2014/main" id="{CB9BFC36-1A8B-BD2B-964F-E1A31F609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91" name="Freeform 12">
                  <a:extLst>
                    <a:ext uri="{FF2B5EF4-FFF2-40B4-BE49-F238E27FC236}">
                      <a16:creationId xmlns:a16="http://schemas.microsoft.com/office/drawing/2014/main" id="{1863F2FC-03C0-096A-1D4D-7DC38A01E7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92" name="Freeform 13">
                  <a:extLst>
                    <a:ext uri="{FF2B5EF4-FFF2-40B4-BE49-F238E27FC236}">
                      <a16:creationId xmlns:a16="http://schemas.microsoft.com/office/drawing/2014/main" id="{7210F383-2F86-D32F-471F-A6596E4577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193" name="Freeform 14">
                  <a:extLst>
                    <a:ext uri="{FF2B5EF4-FFF2-40B4-BE49-F238E27FC236}">
                      <a16:creationId xmlns:a16="http://schemas.microsoft.com/office/drawing/2014/main" id="{B4098D0D-138F-693D-9209-5AAECDD8A7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7245CE6-9FEF-81C6-6C5E-1ECF42D8F387}"/>
              </a:ext>
            </a:extLst>
          </p:cNvPr>
          <p:cNvGrpSpPr/>
          <p:nvPr/>
        </p:nvGrpSpPr>
        <p:grpSpPr>
          <a:xfrm>
            <a:off x="9015210" y="2824688"/>
            <a:ext cx="2520000" cy="1800000"/>
            <a:chOff x="576072" y="795528"/>
            <a:chExt cx="2520000" cy="1800000"/>
          </a:xfrm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D84980B3-56E0-BCCE-46E7-694A569B96EE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3DEA8D93-F50E-AA9A-980B-9FB0D97C8CDF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CEBFD2B8-BFBB-EBD3-87D3-CFFCC960C2B3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1738F7AE-8BEE-3F48-A041-20C604252DBF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B86E23C0-7EBE-AED8-F94D-2BC9B7BD9914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200" name="Freeform 5">
                  <a:extLst>
                    <a:ext uri="{FF2B5EF4-FFF2-40B4-BE49-F238E27FC236}">
                      <a16:creationId xmlns:a16="http://schemas.microsoft.com/office/drawing/2014/main" id="{B14C155A-A1CC-4CA2-873D-EF5ACCF551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1" name="Freeform 6">
                  <a:extLst>
                    <a:ext uri="{FF2B5EF4-FFF2-40B4-BE49-F238E27FC236}">
                      <a16:creationId xmlns:a16="http://schemas.microsoft.com/office/drawing/2014/main" id="{023923E8-558A-4743-8163-4159B900BF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2" name="Freeform 7">
                  <a:extLst>
                    <a:ext uri="{FF2B5EF4-FFF2-40B4-BE49-F238E27FC236}">
                      <a16:creationId xmlns:a16="http://schemas.microsoft.com/office/drawing/2014/main" id="{EBDAA8E7-1065-B023-2A5B-89D8C0ECA1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3" name="Freeform 8">
                  <a:extLst>
                    <a:ext uri="{FF2B5EF4-FFF2-40B4-BE49-F238E27FC236}">
                      <a16:creationId xmlns:a16="http://schemas.microsoft.com/office/drawing/2014/main" id="{52959061-3618-DB40-1135-9F2B727673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4" name="Freeform 9">
                  <a:extLst>
                    <a:ext uri="{FF2B5EF4-FFF2-40B4-BE49-F238E27FC236}">
                      <a16:creationId xmlns:a16="http://schemas.microsoft.com/office/drawing/2014/main" id="{C69FBE16-8D40-D799-47A1-762C6E3AD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5" name="Freeform 10">
                  <a:extLst>
                    <a:ext uri="{FF2B5EF4-FFF2-40B4-BE49-F238E27FC236}">
                      <a16:creationId xmlns:a16="http://schemas.microsoft.com/office/drawing/2014/main" id="{C6BC514C-C709-B012-BE33-150C296D37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6" name="Freeform 11">
                  <a:extLst>
                    <a:ext uri="{FF2B5EF4-FFF2-40B4-BE49-F238E27FC236}">
                      <a16:creationId xmlns:a16="http://schemas.microsoft.com/office/drawing/2014/main" id="{1AD0D7F0-AA6F-61F4-AEE4-91B1DD00F0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7" name="Freeform 12">
                  <a:extLst>
                    <a:ext uri="{FF2B5EF4-FFF2-40B4-BE49-F238E27FC236}">
                      <a16:creationId xmlns:a16="http://schemas.microsoft.com/office/drawing/2014/main" id="{AEB053D0-9235-ABC9-3E92-892166B63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8" name="Freeform 13">
                  <a:extLst>
                    <a:ext uri="{FF2B5EF4-FFF2-40B4-BE49-F238E27FC236}">
                      <a16:creationId xmlns:a16="http://schemas.microsoft.com/office/drawing/2014/main" id="{11804598-118D-8D34-2385-C72DD4F61D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09" name="Freeform 14">
                  <a:extLst>
                    <a:ext uri="{FF2B5EF4-FFF2-40B4-BE49-F238E27FC236}">
                      <a16:creationId xmlns:a16="http://schemas.microsoft.com/office/drawing/2014/main" id="{F388CD4A-EEFE-EBBD-C44B-BDDA41AF4F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AB428DB2-7841-304A-0D84-90619B523FDD}"/>
              </a:ext>
            </a:extLst>
          </p:cNvPr>
          <p:cNvGrpSpPr/>
          <p:nvPr/>
        </p:nvGrpSpPr>
        <p:grpSpPr>
          <a:xfrm>
            <a:off x="578175" y="4833326"/>
            <a:ext cx="2520000" cy="1800000"/>
            <a:chOff x="576072" y="795528"/>
            <a:chExt cx="2520000" cy="1800000"/>
          </a:xfrm>
        </p:grpSpPr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D2DE8B77-983E-4340-7DFE-8F2552DA47E7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9F681237-E060-1844-C5FB-DE6C68B7AF2D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E185B597-EE9B-9C8B-6877-25E768B91B79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 dirty="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 dirty="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3F61D94C-61FF-CF13-2693-6C452FF47187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2610B8FD-BAD6-5260-B3EB-1131418D6B0C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216" name="Freeform 5">
                  <a:extLst>
                    <a:ext uri="{FF2B5EF4-FFF2-40B4-BE49-F238E27FC236}">
                      <a16:creationId xmlns:a16="http://schemas.microsoft.com/office/drawing/2014/main" id="{4F47DD48-8C40-FEE8-F7F3-5DBD2F511F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17" name="Freeform 6">
                  <a:extLst>
                    <a:ext uri="{FF2B5EF4-FFF2-40B4-BE49-F238E27FC236}">
                      <a16:creationId xmlns:a16="http://schemas.microsoft.com/office/drawing/2014/main" id="{E7B6F991-F176-06B0-2BA5-67659E399D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18" name="Freeform 7">
                  <a:extLst>
                    <a:ext uri="{FF2B5EF4-FFF2-40B4-BE49-F238E27FC236}">
                      <a16:creationId xmlns:a16="http://schemas.microsoft.com/office/drawing/2014/main" id="{072A0D38-D24E-30BA-388D-40CC416498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19" name="Freeform 8">
                  <a:extLst>
                    <a:ext uri="{FF2B5EF4-FFF2-40B4-BE49-F238E27FC236}">
                      <a16:creationId xmlns:a16="http://schemas.microsoft.com/office/drawing/2014/main" id="{A37657C3-577F-1C38-AA54-2ED9B41036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0" name="Freeform 9">
                  <a:extLst>
                    <a:ext uri="{FF2B5EF4-FFF2-40B4-BE49-F238E27FC236}">
                      <a16:creationId xmlns:a16="http://schemas.microsoft.com/office/drawing/2014/main" id="{D57D9BE3-FE3B-5273-5EF1-916239DE00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1" name="Freeform 10">
                  <a:extLst>
                    <a:ext uri="{FF2B5EF4-FFF2-40B4-BE49-F238E27FC236}">
                      <a16:creationId xmlns:a16="http://schemas.microsoft.com/office/drawing/2014/main" id="{E394192B-4BFC-D82D-3940-4B8E6D4BF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2" name="Freeform 11">
                  <a:extLst>
                    <a:ext uri="{FF2B5EF4-FFF2-40B4-BE49-F238E27FC236}">
                      <a16:creationId xmlns:a16="http://schemas.microsoft.com/office/drawing/2014/main" id="{D0D1A58B-4E80-1767-C92B-29BABCA05D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3" name="Freeform 12">
                  <a:extLst>
                    <a:ext uri="{FF2B5EF4-FFF2-40B4-BE49-F238E27FC236}">
                      <a16:creationId xmlns:a16="http://schemas.microsoft.com/office/drawing/2014/main" id="{00A218DC-AEDF-549C-EB7E-893A9EB377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4" name="Freeform 13">
                  <a:extLst>
                    <a:ext uri="{FF2B5EF4-FFF2-40B4-BE49-F238E27FC236}">
                      <a16:creationId xmlns:a16="http://schemas.microsoft.com/office/drawing/2014/main" id="{FB266234-6940-63E0-697F-3E615B24D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25" name="Freeform 14">
                  <a:extLst>
                    <a:ext uri="{FF2B5EF4-FFF2-40B4-BE49-F238E27FC236}">
                      <a16:creationId xmlns:a16="http://schemas.microsoft.com/office/drawing/2014/main" id="{2EEE660B-EDC0-90FD-C7E3-126BBED05E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AF23267-AAF3-FF34-4C10-EC134E707BFD}"/>
              </a:ext>
            </a:extLst>
          </p:cNvPr>
          <p:cNvGrpSpPr/>
          <p:nvPr/>
        </p:nvGrpSpPr>
        <p:grpSpPr>
          <a:xfrm>
            <a:off x="6175656" y="2825109"/>
            <a:ext cx="2520000" cy="1800000"/>
            <a:chOff x="576072" y="795528"/>
            <a:chExt cx="2520000" cy="1800000"/>
          </a:xfrm>
        </p:grpSpPr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3C4D3762-24F6-EDE9-AF0D-62785C8BF47E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BC3B1BFC-84EA-BFCC-AAD5-3BB3798137BD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B2A70C07-79E7-C883-6451-19A41118B16E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A48E4B9C-04DE-0AD1-E400-3CE719727628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0CF5BF67-4305-B1C6-C514-22FF2E8CA3FF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232" name="Freeform 5">
                  <a:extLst>
                    <a:ext uri="{FF2B5EF4-FFF2-40B4-BE49-F238E27FC236}">
                      <a16:creationId xmlns:a16="http://schemas.microsoft.com/office/drawing/2014/main" id="{E9CAA1F6-BA4B-8F5F-0268-4DA32E92A3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3" name="Freeform 6">
                  <a:extLst>
                    <a:ext uri="{FF2B5EF4-FFF2-40B4-BE49-F238E27FC236}">
                      <a16:creationId xmlns:a16="http://schemas.microsoft.com/office/drawing/2014/main" id="{032D885F-3D31-2BC0-3D9A-E991EF6540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4" name="Freeform 7">
                  <a:extLst>
                    <a:ext uri="{FF2B5EF4-FFF2-40B4-BE49-F238E27FC236}">
                      <a16:creationId xmlns:a16="http://schemas.microsoft.com/office/drawing/2014/main" id="{DDCD99E2-86EF-DFDF-A0EF-679A050B34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5" name="Freeform 8">
                  <a:extLst>
                    <a:ext uri="{FF2B5EF4-FFF2-40B4-BE49-F238E27FC236}">
                      <a16:creationId xmlns:a16="http://schemas.microsoft.com/office/drawing/2014/main" id="{28809948-41D3-A939-DFCA-19DF354644C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6" name="Freeform 9">
                  <a:extLst>
                    <a:ext uri="{FF2B5EF4-FFF2-40B4-BE49-F238E27FC236}">
                      <a16:creationId xmlns:a16="http://schemas.microsoft.com/office/drawing/2014/main" id="{72BF674D-CB0F-CE94-2C50-E25AC89B06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7" name="Freeform 10">
                  <a:extLst>
                    <a:ext uri="{FF2B5EF4-FFF2-40B4-BE49-F238E27FC236}">
                      <a16:creationId xmlns:a16="http://schemas.microsoft.com/office/drawing/2014/main" id="{709507FB-0F24-70C7-37DF-54F38FA814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8" name="Freeform 11">
                  <a:extLst>
                    <a:ext uri="{FF2B5EF4-FFF2-40B4-BE49-F238E27FC236}">
                      <a16:creationId xmlns:a16="http://schemas.microsoft.com/office/drawing/2014/main" id="{8DB79385-7ABD-50E0-9D14-700D644C36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39" name="Freeform 12">
                  <a:extLst>
                    <a:ext uri="{FF2B5EF4-FFF2-40B4-BE49-F238E27FC236}">
                      <a16:creationId xmlns:a16="http://schemas.microsoft.com/office/drawing/2014/main" id="{976E2235-C6F4-033C-A335-D2923C2B8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40" name="Freeform 13">
                  <a:extLst>
                    <a:ext uri="{FF2B5EF4-FFF2-40B4-BE49-F238E27FC236}">
                      <a16:creationId xmlns:a16="http://schemas.microsoft.com/office/drawing/2014/main" id="{A8BBE179-B016-83E8-9865-BEE9412305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41" name="Freeform 14">
                  <a:extLst>
                    <a:ext uri="{FF2B5EF4-FFF2-40B4-BE49-F238E27FC236}">
                      <a16:creationId xmlns:a16="http://schemas.microsoft.com/office/drawing/2014/main" id="{69D60B1E-8E29-C70A-048E-24E12666C2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2503B7A1-19EC-4908-C764-E1AAF56D99E8}"/>
              </a:ext>
            </a:extLst>
          </p:cNvPr>
          <p:cNvGrpSpPr/>
          <p:nvPr/>
        </p:nvGrpSpPr>
        <p:grpSpPr>
          <a:xfrm>
            <a:off x="9014245" y="823320"/>
            <a:ext cx="2520000" cy="1800000"/>
            <a:chOff x="576072" y="795528"/>
            <a:chExt cx="2520000" cy="1800000"/>
          </a:xfrm>
        </p:grpSpPr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C961CA94-A805-34C9-8C1A-5E051ACD5614}"/>
                </a:ext>
              </a:extLst>
            </p:cNvPr>
            <p:cNvSpPr/>
            <p:nvPr/>
          </p:nvSpPr>
          <p:spPr>
            <a:xfrm>
              <a:off x="576072" y="795528"/>
              <a:ext cx="2520000" cy="180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686791E3-0D39-9530-0B9F-8DC0B16CBBC8}"/>
                </a:ext>
              </a:extLst>
            </p:cNvPr>
            <p:cNvGrpSpPr/>
            <p:nvPr/>
          </p:nvGrpSpPr>
          <p:grpSpPr>
            <a:xfrm>
              <a:off x="641043" y="1441612"/>
              <a:ext cx="2390058" cy="646331"/>
              <a:chOff x="139488" y="6240274"/>
              <a:chExt cx="2441560" cy="577081"/>
            </a:xfrm>
          </p:grpSpPr>
          <p:sp>
            <p:nvSpPr>
              <p:cNvPr id="245" name="Rectangle 244">
                <a:extLst>
                  <a:ext uri="{FF2B5EF4-FFF2-40B4-BE49-F238E27FC236}">
                    <a16:creationId xmlns:a16="http://schemas.microsoft.com/office/drawing/2014/main" id="{37695DC9-FA47-2420-8748-62AB2CDC5304}"/>
                  </a:ext>
                </a:extLst>
              </p:cNvPr>
              <p:cNvSpPr/>
              <p:nvPr/>
            </p:nvSpPr>
            <p:spPr>
              <a:xfrm>
                <a:off x="1267924" y="6240274"/>
                <a:ext cx="1313124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 Light" charset="0"/>
                    <a:ea typeface="Segoe Light" charset="0"/>
                    <a:cs typeface="Segoe Light" charset="0"/>
                  </a:rPr>
                  <a:t>BID, PROPOSAL and BD </a:t>
                </a:r>
                <a:r>
                  <a:rPr lang="en-US" sz="1050">
                    <a:solidFill>
                      <a:schemeClr val="bg1">
                        <a:lumMod val="50000"/>
                      </a:schemeClr>
                    </a:solidFill>
                    <a:latin typeface="Segoe" charset="0"/>
                    <a:ea typeface="Segoe" charset="0"/>
                    <a:cs typeface="Segoe" charset="0"/>
                  </a:rPr>
                  <a:t>ASSOCIATION</a:t>
                </a:r>
              </a:p>
            </p:txBody>
          </p:sp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E77B1D13-FA80-D7F7-5169-76F1AB2F0E64}"/>
                  </a:ext>
                </a:extLst>
              </p:cNvPr>
              <p:cNvCxnSpPr/>
              <p:nvPr/>
            </p:nvCxnSpPr>
            <p:spPr>
              <a:xfrm>
                <a:off x="1243530" y="6253375"/>
                <a:ext cx="0" cy="528445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7" name="Group 246">
                <a:extLst>
                  <a:ext uri="{FF2B5EF4-FFF2-40B4-BE49-F238E27FC236}">
                    <a16:creationId xmlns:a16="http://schemas.microsoft.com/office/drawing/2014/main" id="{E4B0C527-D2D7-4BD6-CC87-9AC5AF993226}"/>
                  </a:ext>
                </a:extLst>
              </p:cNvPr>
              <p:cNvGrpSpPr/>
              <p:nvPr/>
            </p:nvGrpSpPr>
            <p:grpSpPr>
              <a:xfrm>
                <a:off x="139488" y="6267451"/>
                <a:ext cx="1010344" cy="514350"/>
                <a:chOff x="315913" y="490538"/>
                <a:chExt cx="11534775" cy="5872163"/>
              </a:xfrm>
              <a:solidFill>
                <a:srgbClr val="01B0F0"/>
              </a:solidFill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id="{2F7F39ED-A7A8-D020-A808-A7C0589EBE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5313" y="1851026"/>
                  <a:ext cx="2681288" cy="2697163"/>
                </a:xfrm>
                <a:custGeom>
                  <a:avLst/>
                  <a:gdLst>
                    <a:gd name="T0" fmla="*/ 1780 w 3523"/>
                    <a:gd name="T1" fmla="*/ 1030 h 3597"/>
                    <a:gd name="T2" fmla="*/ 1267 w 3523"/>
                    <a:gd name="T3" fmla="*/ 2297 h 3597"/>
                    <a:gd name="T4" fmla="*/ 2271 w 3523"/>
                    <a:gd name="T5" fmla="*/ 2297 h 3597"/>
                    <a:gd name="T6" fmla="*/ 1780 w 3523"/>
                    <a:gd name="T7" fmla="*/ 1030 h 3597"/>
                    <a:gd name="T8" fmla="*/ 1045 w 3523"/>
                    <a:gd name="T9" fmla="*/ 2852 h 3597"/>
                    <a:gd name="T10" fmla="*/ 728 w 3523"/>
                    <a:gd name="T11" fmla="*/ 3597 h 3597"/>
                    <a:gd name="T12" fmla="*/ 0 w 3523"/>
                    <a:gd name="T13" fmla="*/ 3597 h 3597"/>
                    <a:gd name="T14" fmla="*/ 1526 w 3523"/>
                    <a:gd name="T15" fmla="*/ 0 h 3597"/>
                    <a:gd name="T16" fmla="*/ 2044 w 3523"/>
                    <a:gd name="T17" fmla="*/ 0 h 3597"/>
                    <a:gd name="T18" fmla="*/ 3523 w 3523"/>
                    <a:gd name="T19" fmla="*/ 3597 h 3597"/>
                    <a:gd name="T20" fmla="*/ 2788 w 3523"/>
                    <a:gd name="T21" fmla="*/ 3597 h 3597"/>
                    <a:gd name="T22" fmla="*/ 2487 w 3523"/>
                    <a:gd name="T23" fmla="*/ 2852 h 3597"/>
                    <a:gd name="T24" fmla="*/ 1045 w 3523"/>
                    <a:gd name="T25" fmla="*/ 2852 h 3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23" h="3597">
                      <a:moveTo>
                        <a:pt x="1780" y="1030"/>
                      </a:moveTo>
                      <a:lnTo>
                        <a:pt x="1267" y="2297"/>
                      </a:lnTo>
                      <a:lnTo>
                        <a:pt x="2271" y="2297"/>
                      </a:lnTo>
                      <a:lnTo>
                        <a:pt x="1780" y="1030"/>
                      </a:lnTo>
                      <a:close/>
                      <a:moveTo>
                        <a:pt x="1045" y="2852"/>
                      </a:moveTo>
                      <a:lnTo>
                        <a:pt x="728" y="3597"/>
                      </a:lnTo>
                      <a:lnTo>
                        <a:pt x="0" y="3597"/>
                      </a:lnTo>
                      <a:lnTo>
                        <a:pt x="1526" y="0"/>
                      </a:lnTo>
                      <a:lnTo>
                        <a:pt x="2044" y="0"/>
                      </a:lnTo>
                      <a:lnTo>
                        <a:pt x="3523" y="3597"/>
                      </a:lnTo>
                      <a:lnTo>
                        <a:pt x="2788" y="3597"/>
                      </a:lnTo>
                      <a:lnTo>
                        <a:pt x="2487" y="2852"/>
                      </a:lnTo>
                      <a:lnTo>
                        <a:pt x="1045" y="28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id="{D0A44B32-E66F-EA5A-19C5-29F11022CD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8063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399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7" y="74"/>
                        <a:pt x="1959" y="269"/>
                      </a:cubicBezTo>
                      <a:cubicBezTo>
                        <a:pt x="2186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id="{F92B78D0-15CF-47F7-8A49-148DC9A5D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89713" y="1858963"/>
                  <a:ext cx="3157538" cy="2725738"/>
                </a:xfrm>
                <a:custGeom>
                  <a:avLst/>
                  <a:gdLst>
                    <a:gd name="T0" fmla="*/ 655 w 4147"/>
                    <a:gd name="T1" fmla="*/ 0 h 3634"/>
                    <a:gd name="T2" fmla="*/ 1125 w 4147"/>
                    <a:gd name="T3" fmla="*/ 0 h 3634"/>
                    <a:gd name="T4" fmla="*/ 2086 w 4147"/>
                    <a:gd name="T5" fmla="*/ 2303 h 3634"/>
                    <a:gd name="T6" fmla="*/ 3085 w 4147"/>
                    <a:gd name="T7" fmla="*/ 0 h 3634"/>
                    <a:gd name="T8" fmla="*/ 3560 w 4147"/>
                    <a:gd name="T9" fmla="*/ 0 h 3634"/>
                    <a:gd name="T10" fmla="*/ 4147 w 4147"/>
                    <a:gd name="T11" fmla="*/ 3587 h 3634"/>
                    <a:gd name="T12" fmla="*/ 3455 w 4147"/>
                    <a:gd name="T13" fmla="*/ 3587 h 3634"/>
                    <a:gd name="T14" fmla="*/ 3138 w 4147"/>
                    <a:gd name="T15" fmla="*/ 1416 h 3634"/>
                    <a:gd name="T16" fmla="*/ 2171 w 4147"/>
                    <a:gd name="T17" fmla="*/ 3634 h 3634"/>
                    <a:gd name="T18" fmla="*/ 1981 w 4147"/>
                    <a:gd name="T19" fmla="*/ 3634 h 3634"/>
                    <a:gd name="T20" fmla="*/ 1046 w 4147"/>
                    <a:gd name="T21" fmla="*/ 1416 h 3634"/>
                    <a:gd name="T22" fmla="*/ 692 w 4147"/>
                    <a:gd name="T23" fmla="*/ 3587 h 3634"/>
                    <a:gd name="T24" fmla="*/ 0 w 4147"/>
                    <a:gd name="T25" fmla="*/ 3587 h 3634"/>
                    <a:gd name="T26" fmla="*/ 655 w 4147"/>
                    <a:gd name="T27" fmla="*/ 0 h 3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47" h="3634">
                      <a:moveTo>
                        <a:pt x="655" y="0"/>
                      </a:moveTo>
                      <a:lnTo>
                        <a:pt x="1125" y="0"/>
                      </a:lnTo>
                      <a:lnTo>
                        <a:pt x="2086" y="2303"/>
                      </a:lnTo>
                      <a:lnTo>
                        <a:pt x="3085" y="0"/>
                      </a:lnTo>
                      <a:lnTo>
                        <a:pt x="3560" y="0"/>
                      </a:lnTo>
                      <a:lnTo>
                        <a:pt x="4147" y="3587"/>
                      </a:lnTo>
                      <a:lnTo>
                        <a:pt x="3455" y="3587"/>
                      </a:lnTo>
                      <a:lnTo>
                        <a:pt x="3138" y="1416"/>
                      </a:lnTo>
                      <a:lnTo>
                        <a:pt x="2171" y="3634"/>
                      </a:lnTo>
                      <a:lnTo>
                        <a:pt x="1981" y="3634"/>
                      </a:lnTo>
                      <a:lnTo>
                        <a:pt x="1046" y="1416"/>
                      </a:lnTo>
                      <a:lnTo>
                        <a:pt x="692" y="3587"/>
                      </a:lnTo>
                      <a:lnTo>
                        <a:pt x="0" y="3587"/>
                      </a:lnTo>
                      <a:lnTo>
                        <a:pt x="65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1" name="Freeform 8">
                  <a:extLst>
                    <a:ext uri="{FF2B5EF4-FFF2-40B4-BE49-F238E27FC236}">
                      <a16:creationId xmlns:a16="http://schemas.microsoft.com/office/drawing/2014/main" id="{225B870A-04BE-EEF3-2279-1CA7CC8E62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85388" y="1906588"/>
                  <a:ext cx="1765300" cy="2641600"/>
                </a:xfrm>
                <a:custGeom>
                  <a:avLst/>
                  <a:gdLst>
                    <a:gd name="T0" fmla="*/ 966 w 2319"/>
                    <a:gd name="T1" fmla="*/ 1621 h 3523"/>
                    <a:gd name="T2" fmla="*/ 1611 w 2319"/>
                    <a:gd name="T3" fmla="*/ 1104 h 3523"/>
                    <a:gd name="T4" fmla="*/ 924 w 2319"/>
                    <a:gd name="T5" fmla="*/ 597 h 3523"/>
                    <a:gd name="T6" fmla="*/ 686 w 2319"/>
                    <a:gd name="T7" fmla="*/ 597 h 3523"/>
                    <a:gd name="T8" fmla="*/ 686 w 2319"/>
                    <a:gd name="T9" fmla="*/ 1621 h 3523"/>
                    <a:gd name="T10" fmla="*/ 966 w 2319"/>
                    <a:gd name="T11" fmla="*/ 1621 h 3523"/>
                    <a:gd name="T12" fmla="*/ 686 w 2319"/>
                    <a:gd name="T13" fmla="*/ 3523 h 3523"/>
                    <a:gd name="T14" fmla="*/ 0 w 2319"/>
                    <a:gd name="T15" fmla="*/ 3523 h 3523"/>
                    <a:gd name="T16" fmla="*/ 0 w 2319"/>
                    <a:gd name="T17" fmla="*/ 0 h 3523"/>
                    <a:gd name="T18" fmla="*/ 1030 w 2319"/>
                    <a:gd name="T19" fmla="*/ 0 h 3523"/>
                    <a:gd name="T20" fmla="*/ 1959 w 2319"/>
                    <a:gd name="T21" fmla="*/ 269 h 3523"/>
                    <a:gd name="T22" fmla="*/ 2319 w 2319"/>
                    <a:gd name="T23" fmla="*/ 1104 h 3523"/>
                    <a:gd name="T24" fmla="*/ 1130 w 2319"/>
                    <a:gd name="T25" fmla="*/ 2218 h 3523"/>
                    <a:gd name="T26" fmla="*/ 686 w 2319"/>
                    <a:gd name="T27" fmla="*/ 2218 h 3523"/>
                    <a:gd name="T28" fmla="*/ 686 w 2319"/>
                    <a:gd name="T29" fmla="*/ 3523 h 3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19" h="3523">
                      <a:moveTo>
                        <a:pt x="966" y="1621"/>
                      </a:moveTo>
                      <a:cubicBezTo>
                        <a:pt x="1400" y="1621"/>
                        <a:pt x="1611" y="1452"/>
                        <a:pt x="1611" y="1104"/>
                      </a:cubicBezTo>
                      <a:cubicBezTo>
                        <a:pt x="1611" y="755"/>
                        <a:pt x="1394" y="597"/>
                        <a:pt x="924" y="597"/>
                      </a:cubicBezTo>
                      <a:lnTo>
                        <a:pt x="686" y="597"/>
                      </a:lnTo>
                      <a:lnTo>
                        <a:pt x="686" y="1621"/>
                      </a:lnTo>
                      <a:lnTo>
                        <a:pt x="966" y="1621"/>
                      </a:lnTo>
                      <a:close/>
                      <a:moveTo>
                        <a:pt x="686" y="3523"/>
                      </a:moveTo>
                      <a:lnTo>
                        <a:pt x="0" y="3523"/>
                      </a:lnTo>
                      <a:lnTo>
                        <a:pt x="0" y="0"/>
                      </a:lnTo>
                      <a:lnTo>
                        <a:pt x="1030" y="0"/>
                      </a:lnTo>
                      <a:cubicBezTo>
                        <a:pt x="1489" y="0"/>
                        <a:pt x="1738" y="74"/>
                        <a:pt x="1959" y="269"/>
                      </a:cubicBezTo>
                      <a:cubicBezTo>
                        <a:pt x="2187" y="470"/>
                        <a:pt x="2319" y="781"/>
                        <a:pt x="2319" y="1104"/>
                      </a:cubicBezTo>
                      <a:cubicBezTo>
                        <a:pt x="2319" y="1817"/>
                        <a:pt x="1891" y="2218"/>
                        <a:pt x="1130" y="2218"/>
                      </a:cubicBezTo>
                      <a:lnTo>
                        <a:pt x="686" y="2218"/>
                      </a:lnTo>
                      <a:lnTo>
                        <a:pt x="686" y="35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2" name="Freeform 9">
                  <a:extLst>
                    <a:ext uri="{FF2B5EF4-FFF2-40B4-BE49-F238E27FC236}">
                      <a16:creationId xmlns:a16="http://schemas.microsoft.com/office/drawing/2014/main" id="{0D14D01F-AF97-A217-6A02-B97635535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063" y="3903663"/>
                  <a:ext cx="3535363" cy="1768475"/>
                </a:xfrm>
                <a:custGeom>
                  <a:avLst/>
                  <a:gdLst>
                    <a:gd name="T0" fmla="*/ 358 w 4645"/>
                    <a:gd name="T1" fmla="*/ 645 h 2358"/>
                    <a:gd name="T2" fmla="*/ 2672 w 4645"/>
                    <a:gd name="T3" fmla="*/ 2285 h 2358"/>
                    <a:gd name="T4" fmla="*/ 3535 w 4645"/>
                    <a:gd name="T5" fmla="*/ 2344 h 2358"/>
                    <a:gd name="T6" fmla="*/ 4645 w 4645"/>
                    <a:gd name="T7" fmla="*/ 2129 h 2358"/>
                    <a:gd name="T8" fmla="*/ 4288 w 4645"/>
                    <a:gd name="T9" fmla="*/ 1483 h 2358"/>
                    <a:gd name="T10" fmla="*/ 3177 w 4645"/>
                    <a:gd name="T11" fmla="*/ 1699 h 2358"/>
                    <a:gd name="T12" fmla="*/ 0 w 4645"/>
                    <a:gd name="T13" fmla="*/ 0 h 2358"/>
                    <a:gd name="T14" fmla="*/ 358 w 4645"/>
                    <a:gd name="T15" fmla="*/ 645 h 2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45" h="2358">
                      <a:moveTo>
                        <a:pt x="358" y="645"/>
                      </a:moveTo>
                      <a:cubicBezTo>
                        <a:pt x="823" y="1487"/>
                        <a:pt x="1660" y="2094"/>
                        <a:pt x="2672" y="2285"/>
                      </a:cubicBezTo>
                      <a:cubicBezTo>
                        <a:pt x="2947" y="2337"/>
                        <a:pt x="3237" y="2358"/>
                        <a:pt x="3535" y="2344"/>
                      </a:cubicBezTo>
                      <a:cubicBezTo>
                        <a:pt x="3921" y="2326"/>
                        <a:pt x="4294" y="2252"/>
                        <a:pt x="4645" y="2129"/>
                      </a:cubicBezTo>
                      <a:lnTo>
                        <a:pt x="4288" y="1483"/>
                      </a:lnTo>
                      <a:cubicBezTo>
                        <a:pt x="3937" y="1606"/>
                        <a:pt x="3564" y="1681"/>
                        <a:pt x="3177" y="1699"/>
                      </a:cubicBezTo>
                      <a:cubicBezTo>
                        <a:pt x="1787" y="1762"/>
                        <a:pt x="592" y="1070"/>
                        <a:pt x="0" y="0"/>
                      </a:cubicBezTo>
                      <a:lnTo>
                        <a:pt x="358" y="6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3" name="Freeform 10">
                  <a:extLst>
                    <a:ext uri="{FF2B5EF4-FFF2-40B4-BE49-F238E27FC236}">
                      <a16:creationId xmlns:a16="http://schemas.microsoft.com/office/drawing/2014/main" id="{06FFF3F8-B969-2704-87A5-5ED528D899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13" y="842963"/>
                  <a:ext cx="1084263" cy="3544888"/>
                </a:xfrm>
                <a:custGeom>
                  <a:avLst/>
                  <a:gdLst>
                    <a:gd name="T0" fmla="*/ 1250 w 1424"/>
                    <a:gd name="T1" fmla="*/ 333 h 4727"/>
                    <a:gd name="T2" fmla="*/ 1424 w 1424"/>
                    <a:gd name="T3" fmla="*/ 646 h 4727"/>
                    <a:gd name="T4" fmla="*/ 369 w 1424"/>
                    <a:gd name="T5" fmla="*/ 3104 h 4727"/>
                    <a:gd name="T6" fmla="*/ 766 w 1424"/>
                    <a:gd name="T7" fmla="*/ 4727 h 4727"/>
                    <a:gd name="T8" fmla="*/ 408 w 1424"/>
                    <a:gd name="T9" fmla="*/ 4082 h 4727"/>
                    <a:gd name="T10" fmla="*/ 12 w 1424"/>
                    <a:gd name="T11" fmla="*/ 2458 h 4727"/>
                    <a:gd name="T12" fmla="*/ 1067 w 1424"/>
                    <a:gd name="T13" fmla="*/ 0 h 4727"/>
                    <a:gd name="T14" fmla="*/ 1250 w 1424"/>
                    <a:gd name="T15" fmla="*/ 333 h 4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24" h="4727">
                      <a:moveTo>
                        <a:pt x="1250" y="333"/>
                      </a:moveTo>
                      <a:lnTo>
                        <a:pt x="1424" y="646"/>
                      </a:lnTo>
                      <a:cubicBezTo>
                        <a:pt x="786" y="1301"/>
                        <a:pt x="386" y="2168"/>
                        <a:pt x="369" y="3104"/>
                      </a:cubicBezTo>
                      <a:cubicBezTo>
                        <a:pt x="357" y="3698"/>
                        <a:pt x="502" y="4250"/>
                        <a:pt x="766" y="4727"/>
                      </a:cubicBezTo>
                      <a:lnTo>
                        <a:pt x="408" y="4082"/>
                      </a:lnTo>
                      <a:cubicBezTo>
                        <a:pt x="145" y="3604"/>
                        <a:pt x="0" y="3052"/>
                        <a:pt x="12" y="2458"/>
                      </a:cubicBezTo>
                      <a:cubicBezTo>
                        <a:pt x="29" y="1522"/>
                        <a:pt x="429" y="655"/>
                        <a:pt x="1067" y="0"/>
                      </a:cubicBezTo>
                      <a:lnTo>
                        <a:pt x="1250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4" name="Freeform 11">
                  <a:extLst>
                    <a:ext uri="{FF2B5EF4-FFF2-40B4-BE49-F238E27FC236}">
                      <a16:creationId xmlns:a16="http://schemas.microsoft.com/office/drawing/2014/main" id="{37253819-0391-2907-FC73-9D1F7F5398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0925" y="4718051"/>
                  <a:ext cx="1744663" cy="1644650"/>
                </a:xfrm>
                <a:custGeom>
                  <a:avLst/>
                  <a:gdLst>
                    <a:gd name="T0" fmla="*/ 146 w 2291"/>
                    <a:gd name="T1" fmla="*/ 338 h 2193"/>
                    <a:gd name="T2" fmla="*/ 2291 w 2291"/>
                    <a:gd name="T3" fmla="*/ 2193 h 2193"/>
                    <a:gd name="T4" fmla="*/ 2145 w 2291"/>
                    <a:gd name="T5" fmla="*/ 1855 h 2193"/>
                    <a:gd name="T6" fmla="*/ 0 w 2291"/>
                    <a:gd name="T7" fmla="*/ 0 h 2193"/>
                    <a:gd name="T8" fmla="*/ 146 w 2291"/>
                    <a:gd name="T9" fmla="*/ 338 h 2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91" h="2193">
                      <a:moveTo>
                        <a:pt x="146" y="338"/>
                      </a:moveTo>
                      <a:cubicBezTo>
                        <a:pt x="528" y="1220"/>
                        <a:pt x="1303" y="1906"/>
                        <a:pt x="2291" y="2193"/>
                      </a:cubicBezTo>
                      <a:lnTo>
                        <a:pt x="2145" y="1855"/>
                      </a:lnTo>
                      <a:cubicBezTo>
                        <a:pt x="1156" y="1567"/>
                        <a:pt x="381" y="881"/>
                        <a:pt x="0" y="0"/>
                      </a:cubicBezTo>
                      <a:lnTo>
                        <a:pt x="146" y="3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5" name="Freeform 12">
                  <a:extLst>
                    <a:ext uri="{FF2B5EF4-FFF2-40B4-BE49-F238E27FC236}">
                      <a16:creationId xmlns:a16="http://schemas.microsoft.com/office/drawing/2014/main" id="{8BBAEA21-17B6-DEE3-DE83-4766307053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9475" y="4391026"/>
                  <a:ext cx="2057400" cy="1730375"/>
                </a:xfrm>
                <a:custGeom>
                  <a:avLst/>
                  <a:gdLst>
                    <a:gd name="T0" fmla="*/ 380 w 2702"/>
                    <a:gd name="T1" fmla="*/ 680 h 2309"/>
                    <a:gd name="T2" fmla="*/ 2702 w 2702"/>
                    <a:gd name="T3" fmla="*/ 2309 h 2309"/>
                    <a:gd name="T4" fmla="*/ 2415 w 2702"/>
                    <a:gd name="T5" fmla="*/ 1798 h 2309"/>
                    <a:gd name="T6" fmla="*/ 0 w 2702"/>
                    <a:gd name="T7" fmla="*/ 0 h 2309"/>
                    <a:gd name="T8" fmla="*/ 380 w 2702"/>
                    <a:gd name="T9" fmla="*/ 680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2" h="2309">
                      <a:moveTo>
                        <a:pt x="380" y="680"/>
                      </a:moveTo>
                      <a:cubicBezTo>
                        <a:pt x="850" y="1519"/>
                        <a:pt x="1689" y="2123"/>
                        <a:pt x="2702" y="2309"/>
                      </a:cubicBezTo>
                      <a:lnTo>
                        <a:pt x="2415" y="1798"/>
                      </a:lnTo>
                      <a:cubicBezTo>
                        <a:pt x="1403" y="1612"/>
                        <a:pt x="469" y="839"/>
                        <a:pt x="0" y="0"/>
                      </a:cubicBezTo>
                      <a:lnTo>
                        <a:pt x="380" y="6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6" name="Freeform 13">
                  <a:extLst>
                    <a:ext uri="{FF2B5EF4-FFF2-40B4-BE49-F238E27FC236}">
                      <a16:creationId xmlns:a16="http://schemas.microsoft.com/office/drawing/2014/main" id="{6249DB1A-672E-7468-35FD-B22B6F1933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375" y="490538"/>
                  <a:ext cx="2368550" cy="4319588"/>
                </a:xfrm>
                <a:custGeom>
                  <a:avLst/>
                  <a:gdLst>
                    <a:gd name="T0" fmla="*/ 3038 w 3113"/>
                    <a:gd name="T1" fmla="*/ 0 h 5761"/>
                    <a:gd name="T2" fmla="*/ 3113 w 3113"/>
                    <a:gd name="T3" fmla="*/ 597 h 5761"/>
                    <a:gd name="T4" fmla="*/ 2995 w 3113"/>
                    <a:gd name="T5" fmla="*/ 646 h 5761"/>
                    <a:gd name="T6" fmla="*/ 294 w 3113"/>
                    <a:gd name="T7" fmla="*/ 4139 h 5761"/>
                    <a:gd name="T8" fmla="*/ 698 w 3113"/>
                    <a:gd name="T9" fmla="*/ 5761 h 5761"/>
                    <a:gd name="T10" fmla="*/ 318 w 3113"/>
                    <a:gd name="T11" fmla="*/ 5080 h 5761"/>
                    <a:gd name="T12" fmla="*/ 8 w 3113"/>
                    <a:gd name="T13" fmla="*/ 3373 h 5761"/>
                    <a:gd name="T14" fmla="*/ 1068 w 3113"/>
                    <a:gd name="T15" fmla="*/ 1313 h 5761"/>
                    <a:gd name="T16" fmla="*/ 3038 w 3113"/>
                    <a:gd name="T17" fmla="*/ 0 h 5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13" h="5761">
                      <a:moveTo>
                        <a:pt x="3038" y="0"/>
                      </a:moveTo>
                      <a:lnTo>
                        <a:pt x="3113" y="597"/>
                      </a:lnTo>
                      <a:lnTo>
                        <a:pt x="2995" y="646"/>
                      </a:lnTo>
                      <a:cubicBezTo>
                        <a:pt x="1459" y="1135"/>
                        <a:pt x="317" y="2540"/>
                        <a:pt x="294" y="4139"/>
                      </a:cubicBezTo>
                      <a:cubicBezTo>
                        <a:pt x="285" y="4733"/>
                        <a:pt x="432" y="5285"/>
                        <a:pt x="698" y="5761"/>
                      </a:cubicBezTo>
                      <a:lnTo>
                        <a:pt x="318" y="5080"/>
                      </a:lnTo>
                      <a:cubicBezTo>
                        <a:pt x="52" y="4604"/>
                        <a:pt x="0" y="3967"/>
                        <a:pt x="8" y="3373"/>
                      </a:cubicBezTo>
                      <a:cubicBezTo>
                        <a:pt x="22" y="2437"/>
                        <a:pt x="632" y="1831"/>
                        <a:pt x="1068" y="1313"/>
                      </a:cubicBezTo>
                      <a:cubicBezTo>
                        <a:pt x="1710" y="552"/>
                        <a:pt x="3038" y="0"/>
                        <a:pt x="303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  <p:sp>
              <p:nvSpPr>
                <p:cNvPr id="257" name="Freeform 14">
                  <a:extLst>
                    <a:ext uri="{FF2B5EF4-FFF2-40B4-BE49-F238E27FC236}">
                      <a16:creationId xmlns:a16="http://schemas.microsoft.com/office/drawing/2014/main" id="{CBDC0EE4-D9A7-3BD0-A392-F024F92262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450" y="958851"/>
                  <a:ext cx="3902075" cy="4124325"/>
                </a:xfrm>
                <a:custGeom>
                  <a:avLst/>
                  <a:gdLst>
                    <a:gd name="T0" fmla="*/ 5125 w 5125"/>
                    <a:gd name="T1" fmla="*/ 484 h 5500"/>
                    <a:gd name="T2" fmla="*/ 4025 w 5125"/>
                    <a:gd name="T3" fmla="*/ 334 h 5500"/>
                    <a:gd name="T4" fmla="*/ 199 w 5125"/>
                    <a:gd name="T5" fmla="*/ 3864 h 5500"/>
                    <a:gd name="T6" fmla="*/ 542 w 5125"/>
                    <a:gd name="T7" fmla="*/ 5500 h 5500"/>
                    <a:gd name="T8" fmla="*/ 374 w 5125"/>
                    <a:gd name="T9" fmla="*/ 5171 h 5500"/>
                    <a:gd name="T10" fmla="*/ 31 w 5125"/>
                    <a:gd name="T11" fmla="*/ 3535 h 5500"/>
                    <a:gd name="T12" fmla="*/ 3857 w 5125"/>
                    <a:gd name="T13" fmla="*/ 5 h 5500"/>
                    <a:gd name="T14" fmla="*/ 4958 w 5125"/>
                    <a:gd name="T15" fmla="*/ 155 h 5500"/>
                    <a:gd name="T16" fmla="*/ 5125 w 5125"/>
                    <a:gd name="T17" fmla="*/ 484 h 5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25" h="5500">
                      <a:moveTo>
                        <a:pt x="5125" y="484"/>
                      </a:moveTo>
                      <a:cubicBezTo>
                        <a:pt x="4781" y="382"/>
                        <a:pt x="4412" y="329"/>
                        <a:pt x="4025" y="334"/>
                      </a:cubicBezTo>
                      <a:cubicBezTo>
                        <a:pt x="2012" y="359"/>
                        <a:pt x="300" y="1939"/>
                        <a:pt x="199" y="3864"/>
                      </a:cubicBezTo>
                      <a:cubicBezTo>
                        <a:pt x="168" y="4458"/>
                        <a:pt x="293" y="5015"/>
                        <a:pt x="542" y="5500"/>
                      </a:cubicBezTo>
                      <a:lnTo>
                        <a:pt x="374" y="5171"/>
                      </a:lnTo>
                      <a:cubicBezTo>
                        <a:pt x="126" y="4685"/>
                        <a:pt x="0" y="4129"/>
                        <a:pt x="31" y="3535"/>
                      </a:cubicBezTo>
                      <a:cubicBezTo>
                        <a:pt x="132" y="1611"/>
                        <a:pt x="1845" y="30"/>
                        <a:pt x="3857" y="5"/>
                      </a:cubicBezTo>
                      <a:cubicBezTo>
                        <a:pt x="4244" y="0"/>
                        <a:pt x="4613" y="53"/>
                        <a:pt x="4958" y="155"/>
                      </a:cubicBezTo>
                      <a:lnTo>
                        <a:pt x="5125" y="4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953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09D0C64-B625-1250-ECB3-54DE3BBE6F4C}"/>
              </a:ext>
            </a:extLst>
          </p:cNvPr>
          <p:cNvSpPr txBox="1"/>
          <p:nvPr/>
        </p:nvSpPr>
        <p:spPr>
          <a:xfrm>
            <a:off x="595122" y="486519"/>
            <a:ext cx="897991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800" b="1" dirty="0">
                <a:solidFill>
                  <a:schemeClr val="bg1"/>
                </a:solidFill>
              </a:rPr>
              <a:t>Quiz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9C19BE-1397-322B-85D2-D8CD33A45FAE}"/>
              </a:ext>
            </a:extLst>
          </p:cNvPr>
          <p:cNvSpPr txBox="1"/>
          <p:nvPr/>
        </p:nvSpPr>
        <p:spPr>
          <a:xfrm>
            <a:off x="663702" y="1163627"/>
            <a:ext cx="8289798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do you think ‘hot buttons’ are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might a ‘Pre-Qualification Questionnaire’ be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is storyboarding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Do we use colours, animals, food, or names to describe the reviews? And how many do you think there might be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How might you describe a Telegraph Heading?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is a Kick-off, and what might happen there?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is a CQ?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Put the following in the right order (Red Review / Proof-read / Preferred Bidder / Kick-off / Storyboard / Submission / Presentation)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Describe what shredding is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ich of these is not a bid role: (Proposal Manager, Director, Writer, Hat Master, Cost Modeller, Subject Matter Expert, Designer)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is capture management? 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evidence might we use to convince the customer we can do the job?</a:t>
            </a:r>
          </a:p>
          <a:p>
            <a:pPr marL="342900" indent="-342900">
              <a:spcAft>
                <a:spcPts val="3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hat is an ‘action caption’?</a:t>
            </a:r>
          </a:p>
        </p:txBody>
      </p:sp>
      <p:pic>
        <p:nvPicPr>
          <p:cNvPr id="24" name="Picture 23" descr="Magnifying glass and question mark">
            <a:extLst>
              <a:ext uri="{FF2B5EF4-FFF2-40B4-BE49-F238E27FC236}">
                <a16:creationId xmlns:a16="http://schemas.microsoft.com/office/drawing/2014/main" id="{B6C2D60F-B19A-1432-F3D1-8B73AD037B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2080" y="0"/>
            <a:ext cx="35147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359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52EC2F-8F83-F131-4DD5-7B55A9A0824C}"/>
              </a:ext>
            </a:extLst>
          </p:cNvPr>
          <p:cNvSpPr txBox="1"/>
          <p:nvPr/>
        </p:nvSpPr>
        <p:spPr>
          <a:xfrm>
            <a:off x="576072" y="192024"/>
            <a:ext cx="897991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800" b="1" dirty="0">
                <a:solidFill>
                  <a:schemeClr val="bg1"/>
                </a:solidFill>
              </a:rPr>
              <a:t>Project pla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BC4DF8-6F07-BD5D-96F0-F3EBB9F1CA95}"/>
              </a:ext>
            </a:extLst>
          </p:cNvPr>
          <p:cNvSpPr txBox="1"/>
          <p:nvPr/>
        </p:nvSpPr>
        <p:spPr>
          <a:xfrm>
            <a:off x="576072" y="973282"/>
            <a:ext cx="8301228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Create a bid process flow (from Initiation through to Contract Sign), include: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Key milestones (Approval to Bid, Kick-off, Approval to Submit, Submission, Client Decision, Contract Award)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Reviews (Pink, Red, Gold, White, other)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Writing, pricing and commercial elements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Capture / Proposal / Presentation / Clarifications (maybe dialogue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Break it up into pieces and put in folder / envelop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Put audience into groups (3 – 4)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Give an envelope (with the pieces) to each group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Set time limit for the group to piece together what they think the order of the bid plan is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Maybe include 2 / 3 query cards to check / ask a query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Once time’s up get groups to talk through their process and thinking behind it (see if other groups did the same / something different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Discuss against a ‘traditional’ bid process and provide an explanation as to ‘why’</a:t>
            </a:r>
          </a:p>
        </p:txBody>
      </p:sp>
      <p:pic>
        <p:nvPicPr>
          <p:cNvPr id="25" name="Picture 24" descr="Snowy mountain road">
            <a:extLst>
              <a:ext uri="{FF2B5EF4-FFF2-40B4-BE49-F238E27FC236}">
                <a16:creationId xmlns:a16="http://schemas.microsoft.com/office/drawing/2014/main" id="{5ED289EE-C3A1-BAD3-6F9F-A8C6D1552F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4949" y="0"/>
            <a:ext cx="3286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2966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52EC2F-8F83-F131-4DD5-7B55A9A0824C}"/>
              </a:ext>
            </a:extLst>
          </p:cNvPr>
          <p:cNvSpPr txBox="1"/>
          <p:nvPr/>
        </p:nvSpPr>
        <p:spPr>
          <a:xfrm>
            <a:off x="576072" y="573024"/>
            <a:ext cx="8979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</a:rPr>
              <a:t>BIDOPOL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BC4DF8-6F07-BD5D-96F0-F3EBB9F1CA95}"/>
              </a:ext>
            </a:extLst>
          </p:cNvPr>
          <p:cNvSpPr txBox="1"/>
          <p:nvPr/>
        </p:nvSpPr>
        <p:spPr>
          <a:xfrm>
            <a:off x="9382124" y="1887682"/>
            <a:ext cx="2657475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Create a simple </a:t>
            </a:r>
            <a:r>
              <a:rPr lang="en-GB" dirty="0" err="1">
                <a:solidFill>
                  <a:schemeClr val="bg1"/>
                </a:solidFill>
              </a:rPr>
              <a:t>Bidopoly</a:t>
            </a:r>
            <a:r>
              <a:rPr lang="en-GB" dirty="0">
                <a:solidFill>
                  <a:schemeClr val="bg1"/>
                </a:solidFill>
              </a:rPr>
              <a:t> game of the proces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Play the game and use squares, pick-up cards and activities to learn about the process</a:t>
            </a:r>
          </a:p>
        </p:txBody>
      </p:sp>
      <p:pic>
        <p:nvPicPr>
          <p:cNvPr id="3" name="Picture 2" descr="A board game with different symbols&#10;&#10;Description automatically generated">
            <a:extLst>
              <a:ext uri="{FF2B5EF4-FFF2-40B4-BE49-F238E27FC236}">
                <a16:creationId xmlns:a16="http://schemas.microsoft.com/office/drawing/2014/main" id="{CB72818F-D305-2C5D-E946-52EC9E99DBF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3700" y="331851"/>
            <a:ext cx="5953125" cy="595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6784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52EC2F-8F83-F131-4DD5-7B55A9A0824C}"/>
              </a:ext>
            </a:extLst>
          </p:cNvPr>
          <p:cNvSpPr txBox="1"/>
          <p:nvPr/>
        </p:nvSpPr>
        <p:spPr>
          <a:xfrm>
            <a:off x="604647" y="487299"/>
            <a:ext cx="782497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800" b="1" dirty="0">
                <a:solidFill>
                  <a:schemeClr val="bg1"/>
                </a:solidFill>
              </a:rPr>
              <a:t>Belinda Bid and Peter Proposals quest for the winning ma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BC4DF8-6F07-BD5D-96F0-F3EBB9F1CA95}"/>
              </a:ext>
            </a:extLst>
          </p:cNvPr>
          <p:cNvSpPr txBox="1"/>
          <p:nvPr/>
        </p:nvSpPr>
        <p:spPr>
          <a:xfrm>
            <a:off x="604647" y="2200102"/>
            <a:ext cx="7729728" cy="324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Give the group(s) a client question, the evaluation criteria, and some written text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Ask them to: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Read all the information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Compare the response to the question – does it answer the question? If not, what’s missing 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Compare the response to the evaluation criteria – what would they score it, and why?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How might the writer be able to improve their answer to get a higher score?</a:t>
            </a:r>
          </a:p>
        </p:txBody>
      </p:sp>
      <p:pic>
        <p:nvPicPr>
          <p:cNvPr id="7" name="Picture 6" descr="Close up of checklist">
            <a:extLst>
              <a:ext uri="{FF2B5EF4-FFF2-40B4-BE49-F238E27FC236}">
                <a16:creationId xmlns:a16="http://schemas.microsoft.com/office/drawing/2014/main" id="{F814FE06-5FBA-4A04-00B0-6B943186F8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86800" y="0"/>
            <a:ext cx="4314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6623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52EC2F-8F83-F131-4DD5-7B55A9A0824C}"/>
              </a:ext>
            </a:extLst>
          </p:cNvPr>
          <p:cNvSpPr txBox="1"/>
          <p:nvPr/>
        </p:nvSpPr>
        <p:spPr>
          <a:xfrm>
            <a:off x="671322" y="820674"/>
            <a:ext cx="672007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800" b="1" dirty="0">
                <a:solidFill>
                  <a:schemeClr val="bg1"/>
                </a:solidFill>
              </a:rPr>
              <a:t>A picture paints a thousand wor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BC4DF8-6F07-BD5D-96F0-F3EBB9F1CA95}"/>
              </a:ext>
            </a:extLst>
          </p:cNvPr>
          <p:cNvSpPr txBox="1"/>
          <p:nvPr/>
        </p:nvSpPr>
        <p:spPr>
          <a:xfrm>
            <a:off x="783336" y="3047827"/>
            <a:ext cx="717003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Give the group(s) a page of text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Ask them to turn it into a graphic with an ‘Action Caption’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dirty="0">
                <a:solidFill>
                  <a:schemeClr val="bg1"/>
                </a:solidFill>
              </a:rPr>
              <a:t>Share their graphics with the group, what they did, why, and does it make sense to the others? </a:t>
            </a:r>
          </a:p>
        </p:txBody>
      </p:sp>
      <p:pic>
        <p:nvPicPr>
          <p:cNvPr id="3" name="Picture 2" descr="Hand holding photograph of countryside">
            <a:extLst>
              <a:ext uri="{FF2B5EF4-FFF2-40B4-BE49-F238E27FC236}">
                <a16:creationId xmlns:a16="http://schemas.microsoft.com/office/drawing/2014/main" id="{A7B4B6DA-96B0-CE50-1247-E5DF0EFDF8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0124" y="0"/>
            <a:ext cx="35718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410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06CD6E-59A3-0357-9708-6213EED53FA3}"/>
              </a:ext>
            </a:extLst>
          </p:cNvPr>
          <p:cNvSpPr/>
          <p:nvPr/>
        </p:nvSpPr>
        <p:spPr>
          <a:xfrm>
            <a:off x="735787" y="1574320"/>
            <a:ext cx="3439049" cy="4577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66C093-7F0A-BC56-17D8-A18DFED1B7ED}"/>
              </a:ext>
            </a:extLst>
          </p:cNvPr>
          <p:cNvSpPr txBox="1"/>
          <p:nvPr/>
        </p:nvSpPr>
        <p:spPr>
          <a:xfrm>
            <a:off x="5100726" y="2990744"/>
            <a:ext cx="5129841" cy="22929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200" dirty="0">
                <a:solidFill>
                  <a:srgbClr val="FFFFFF"/>
                </a:solidFill>
                <a:latin typeface="Calibri"/>
                <a:cs typeface="Calibri"/>
              </a:rPr>
              <a:t>Who am I?</a:t>
            </a:r>
          </a:p>
          <a:p>
            <a:pPr algn="l">
              <a:spcAft>
                <a:spcPts val="600"/>
              </a:spcAft>
            </a:pPr>
            <a:r>
              <a:rPr lang="en-US" sz="3200" dirty="0">
                <a:solidFill>
                  <a:srgbClr val="FFFFFF"/>
                </a:solidFill>
                <a:latin typeface="Calibri"/>
                <a:cs typeface="Calibri"/>
              </a:rPr>
              <a:t>What do I do? </a:t>
            </a:r>
          </a:p>
          <a:p>
            <a:pPr algn="l">
              <a:spcAft>
                <a:spcPts val="600"/>
              </a:spcAft>
            </a:pPr>
            <a:r>
              <a:rPr lang="en-US" sz="3200" dirty="0">
                <a:solidFill>
                  <a:srgbClr val="FFFFFF"/>
                </a:solidFill>
                <a:latin typeface="Calibri"/>
                <a:cs typeface="Calibri"/>
              </a:rPr>
              <a:t>Why am I here?</a:t>
            </a:r>
          </a:p>
          <a:p>
            <a:pPr algn="l">
              <a:spcAft>
                <a:spcPts val="600"/>
              </a:spcAft>
            </a:pPr>
            <a:r>
              <a:rPr lang="en-US" sz="3200" dirty="0">
                <a:solidFill>
                  <a:srgbClr val="FFFFFF"/>
                </a:solidFill>
                <a:latin typeface="Calibri"/>
                <a:cs typeface="Calibri"/>
              </a:rPr>
              <a:t>Why is this of interest to you?</a:t>
            </a:r>
          </a:p>
        </p:txBody>
      </p:sp>
      <p:pic>
        <p:nvPicPr>
          <p:cNvPr id="7" name="Graphic 6" descr="User with solid fill">
            <a:extLst>
              <a:ext uri="{FF2B5EF4-FFF2-40B4-BE49-F238E27FC236}">
                <a16:creationId xmlns:a16="http://schemas.microsoft.com/office/drawing/2014/main" id="{2855084B-292D-EC1D-2CCE-FB2CE93094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3292" y="3222811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91A2A82-FD7F-E34B-CDAC-AC13F9068B4D}"/>
              </a:ext>
            </a:extLst>
          </p:cNvPr>
          <p:cNvSpPr txBox="1"/>
          <p:nvPr/>
        </p:nvSpPr>
        <p:spPr>
          <a:xfrm>
            <a:off x="5078592" y="1442381"/>
            <a:ext cx="7077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Calibri"/>
                <a:cs typeface="Calibri"/>
              </a:rPr>
              <a:t>Quick introductions</a:t>
            </a:r>
          </a:p>
        </p:txBody>
      </p:sp>
    </p:spTree>
    <p:extLst>
      <p:ext uri="{BB962C8B-B14F-4D97-AF65-F5344CB8AC3E}">
        <p14:creationId xmlns:p14="http://schemas.microsoft.com/office/powerpoint/2010/main" val="3583446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4D35F7-BDEF-D3E7-11AE-4C11C538C427}"/>
              </a:ext>
            </a:extLst>
          </p:cNvPr>
          <p:cNvSpPr txBox="1"/>
          <p:nvPr/>
        </p:nvSpPr>
        <p:spPr>
          <a:xfrm>
            <a:off x="4780381" y="3013501"/>
            <a:ext cx="7077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Calibri"/>
                <a:cs typeface="Calibri"/>
              </a:rPr>
              <a:t>Icebreaker </a:t>
            </a:r>
          </a:p>
        </p:txBody>
      </p:sp>
    </p:spTree>
    <p:extLst>
      <p:ext uri="{BB962C8B-B14F-4D97-AF65-F5344CB8AC3E}">
        <p14:creationId xmlns:p14="http://schemas.microsoft.com/office/powerpoint/2010/main" val="3605205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4D35F7-BDEF-D3E7-11AE-4C11C538C427}"/>
              </a:ext>
            </a:extLst>
          </p:cNvPr>
          <p:cNvSpPr txBox="1"/>
          <p:nvPr/>
        </p:nvSpPr>
        <p:spPr>
          <a:xfrm>
            <a:off x="665581" y="984676"/>
            <a:ext cx="10088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"/>
                <a:cs typeface="Calibri"/>
              </a:rPr>
              <a:t>What do I do? </a:t>
            </a:r>
          </a:p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My passion, mission, profession and vo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FF5FFC-3BE8-91F8-BEED-43C007F43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94" y="2337405"/>
            <a:ext cx="10800000" cy="4144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25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4D35F7-BDEF-D3E7-11AE-4C11C538C427}"/>
              </a:ext>
            </a:extLst>
          </p:cNvPr>
          <p:cNvSpPr txBox="1"/>
          <p:nvPr/>
        </p:nvSpPr>
        <p:spPr>
          <a:xfrm>
            <a:off x="665580" y="984676"/>
            <a:ext cx="10799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"/>
                <a:cs typeface="Calibri"/>
              </a:rPr>
              <a:t>Who do I work with? </a:t>
            </a:r>
          </a:p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I am part of a team of specialists with different skill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2390C6-C197-0257-6BF5-1F411C54A3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5581" y="2573993"/>
            <a:ext cx="10800000" cy="23595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AC15FD-A048-9A95-0419-3D50723BF935}"/>
              </a:ext>
            </a:extLst>
          </p:cNvPr>
          <p:cNvSpPr txBox="1"/>
          <p:nvPr/>
        </p:nvSpPr>
        <p:spPr>
          <a:xfrm>
            <a:off x="665580" y="5322577"/>
            <a:ext cx="1103111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Calibri"/>
                <a:cs typeface="Calibri"/>
              </a:rPr>
              <a:t>We work with experts across our organisations to deliver winning bids and proposals, and some of us move to these adjacent roles during their career</a:t>
            </a:r>
            <a:endParaRPr lang="en-US" sz="2400" dirty="0">
              <a:solidFill>
                <a:srgbClr val="23313D"/>
              </a:solidFill>
              <a:latin typeface="Segoe Ligh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2995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3D9CE3-A7FF-C213-926B-5DF62C628CEE}"/>
              </a:ext>
            </a:extLst>
          </p:cNvPr>
          <p:cNvSpPr txBox="1"/>
          <p:nvPr/>
        </p:nvSpPr>
        <p:spPr>
          <a:xfrm>
            <a:off x="665581" y="984676"/>
            <a:ext cx="10088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"/>
                <a:cs typeface="Calibri"/>
              </a:rPr>
              <a:t>Tell me about you</a:t>
            </a:r>
          </a:p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What are your interests? </a:t>
            </a:r>
          </a:p>
        </p:txBody>
      </p:sp>
      <p:pic>
        <p:nvPicPr>
          <p:cNvPr id="4" name="Graphic 3" descr="Books on shelf with solid fill">
            <a:extLst>
              <a:ext uri="{FF2B5EF4-FFF2-40B4-BE49-F238E27FC236}">
                <a16:creationId xmlns:a16="http://schemas.microsoft.com/office/drawing/2014/main" id="{C4781906-745C-3384-9456-5DD9BF275E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118" y="5517750"/>
            <a:ext cx="914400" cy="914400"/>
          </a:xfrm>
          <a:prstGeom prst="rect">
            <a:avLst/>
          </a:prstGeom>
        </p:spPr>
      </p:pic>
      <p:pic>
        <p:nvPicPr>
          <p:cNvPr id="6" name="Graphic 5" descr="Golden Ratio with solid fill">
            <a:extLst>
              <a:ext uri="{FF2B5EF4-FFF2-40B4-BE49-F238E27FC236}">
                <a16:creationId xmlns:a16="http://schemas.microsoft.com/office/drawing/2014/main" id="{736698C3-564C-322F-1CA2-FBBBFD6A8C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73710" y="3477154"/>
            <a:ext cx="914400" cy="914400"/>
          </a:xfrm>
          <a:prstGeom prst="rect">
            <a:avLst/>
          </a:prstGeom>
        </p:spPr>
      </p:pic>
      <p:pic>
        <p:nvPicPr>
          <p:cNvPr id="8" name="Graphic 7" descr="Mathematics with solid fill">
            <a:extLst>
              <a:ext uri="{FF2B5EF4-FFF2-40B4-BE49-F238E27FC236}">
                <a16:creationId xmlns:a16="http://schemas.microsoft.com/office/drawing/2014/main" id="{C54F4EA0-9C21-8480-CB23-EEF685CFC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49982" y="4488112"/>
            <a:ext cx="914400" cy="914400"/>
          </a:xfrm>
          <a:prstGeom prst="rect">
            <a:avLst/>
          </a:prstGeom>
        </p:spPr>
      </p:pic>
      <p:pic>
        <p:nvPicPr>
          <p:cNvPr id="10" name="Graphic 9" descr="Test tubes with solid fill">
            <a:extLst>
              <a:ext uri="{FF2B5EF4-FFF2-40B4-BE49-F238E27FC236}">
                <a16:creationId xmlns:a16="http://schemas.microsoft.com/office/drawing/2014/main" id="{A557DCA5-1976-9975-5002-84360C0A79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1846" y="3477154"/>
            <a:ext cx="914400" cy="914400"/>
          </a:xfrm>
          <a:prstGeom prst="rect">
            <a:avLst/>
          </a:prstGeom>
        </p:spPr>
      </p:pic>
      <p:pic>
        <p:nvPicPr>
          <p:cNvPr id="12" name="Graphic 11" descr="Travel with solid fill">
            <a:extLst>
              <a:ext uri="{FF2B5EF4-FFF2-40B4-BE49-F238E27FC236}">
                <a16:creationId xmlns:a16="http://schemas.microsoft.com/office/drawing/2014/main" id="{26A2EC9F-A22B-A018-D535-EF6F955F78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11846" y="2471527"/>
            <a:ext cx="914400" cy="914400"/>
          </a:xfrm>
          <a:prstGeom prst="rect">
            <a:avLst/>
          </a:prstGeom>
        </p:spPr>
      </p:pic>
      <p:pic>
        <p:nvPicPr>
          <p:cNvPr id="14" name="Graphic 13" descr="Piggy Bank with solid fill">
            <a:extLst>
              <a:ext uri="{FF2B5EF4-FFF2-40B4-BE49-F238E27FC236}">
                <a16:creationId xmlns:a16="http://schemas.microsoft.com/office/drawing/2014/main" id="{AE155A08-8FE0-7C33-CF1B-3D7EF221953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35574" y="5517750"/>
            <a:ext cx="914400" cy="914400"/>
          </a:xfrm>
          <a:prstGeom prst="rect">
            <a:avLst/>
          </a:prstGeom>
        </p:spPr>
      </p:pic>
      <p:pic>
        <p:nvPicPr>
          <p:cNvPr id="16" name="Graphic 15" descr="Hike with solid fill">
            <a:extLst>
              <a:ext uri="{FF2B5EF4-FFF2-40B4-BE49-F238E27FC236}">
                <a16:creationId xmlns:a16="http://schemas.microsoft.com/office/drawing/2014/main" id="{47167FA8-9196-DF86-3FE9-BD1154850F3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11846" y="5517750"/>
            <a:ext cx="914400" cy="914400"/>
          </a:xfrm>
          <a:prstGeom prst="rect">
            <a:avLst/>
          </a:prstGeom>
        </p:spPr>
      </p:pic>
      <p:pic>
        <p:nvPicPr>
          <p:cNvPr id="18" name="Graphic 17" descr="Sustainability with solid fill">
            <a:extLst>
              <a:ext uri="{FF2B5EF4-FFF2-40B4-BE49-F238E27FC236}">
                <a16:creationId xmlns:a16="http://schemas.microsoft.com/office/drawing/2014/main" id="{854944BE-9839-AA62-FC56-D1590C3495D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88118" y="4488112"/>
            <a:ext cx="914400" cy="914400"/>
          </a:xfrm>
          <a:prstGeom prst="rect">
            <a:avLst/>
          </a:prstGeom>
        </p:spPr>
      </p:pic>
      <p:pic>
        <p:nvPicPr>
          <p:cNvPr id="20" name="Graphic 19" descr="Highway scene with solid fill">
            <a:extLst>
              <a:ext uri="{FF2B5EF4-FFF2-40B4-BE49-F238E27FC236}">
                <a16:creationId xmlns:a16="http://schemas.microsoft.com/office/drawing/2014/main" id="{DEE0FE42-95C5-F19D-6E7A-6FEF0023C21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88118" y="3477154"/>
            <a:ext cx="914400" cy="914400"/>
          </a:xfrm>
          <a:prstGeom prst="rect">
            <a:avLst/>
          </a:prstGeom>
        </p:spPr>
      </p:pic>
      <p:pic>
        <p:nvPicPr>
          <p:cNvPr id="22" name="Graphic 21" descr="Paw prints with solid fill">
            <a:extLst>
              <a:ext uri="{FF2B5EF4-FFF2-40B4-BE49-F238E27FC236}">
                <a16:creationId xmlns:a16="http://schemas.microsoft.com/office/drawing/2014/main" id="{18D6BBBC-736E-A415-68B4-566B733518C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735574" y="3477154"/>
            <a:ext cx="914400" cy="914400"/>
          </a:xfrm>
          <a:prstGeom prst="rect">
            <a:avLst/>
          </a:prstGeom>
        </p:spPr>
      </p:pic>
      <p:pic>
        <p:nvPicPr>
          <p:cNvPr id="24" name="Graphic 23" descr="Cycling with solid fill">
            <a:extLst>
              <a:ext uri="{FF2B5EF4-FFF2-40B4-BE49-F238E27FC236}">
                <a16:creationId xmlns:a16="http://schemas.microsoft.com/office/drawing/2014/main" id="{F56BE681-260A-8273-16E0-84FC9460A4F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259302" y="2471527"/>
            <a:ext cx="914400" cy="914400"/>
          </a:xfrm>
          <a:prstGeom prst="rect">
            <a:avLst/>
          </a:prstGeom>
        </p:spPr>
      </p:pic>
      <p:pic>
        <p:nvPicPr>
          <p:cNvPr id="26" name="Graphic 25" descr="Cricket with solid fill">
            <a:extLst>
              <a:ext uri="{FF2B5EF4-FFF2-40B4-BE49-F238E27FC236}">
                <a16:creationId xmlns:a16="http://schemas.microsoft.com/office/drawing/2014/main" id="{5B20F780-0D98-B067-DD75-2A86E90B07B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949982" y="2471527"/>
            <a:ext cx="914400" cy="914400"/>
          </a:xfrm>
          <a:prstGeom prst="rect">
            <a:avLst/>
          </a:prstGeom>
        </p:spPr>
      </p:pic>
      <p:pic>
        <p:nvPicPr>
          <p:cNvPr id="28" name="Graphic 27" descr="Elliptical with solid fill">
            <a:extLst>
              <a:ext uri="{FF2B5EF4-FFF2-40B4-BE49-F238E27FC236}">
                <a16:creationId xmlns:a16="http://schemas.microsoft.com/office/drawing/2014/main" id="{26198F79-926E-E77B-9ADC-F5CBCE979FE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997438" y="5517750"/>
            <a:ext cx="914400" cy="914400"/>
          </a:xfrm>
          <a:prstGeom prst="rect">
            <a:avLst/>
          </a:prstGeom>
        </p:spPr>
      </p:pic>
      <p:pic>
        <p:nvPicPr>
          <p:cNvPr id="30" name="Graphic 29" descr="Martial Arts with solid fill">
            <a:extLst>
              <a:ext uri="{FF2B5EF4-FFF2-40B4-BE49-F238E27FC236}">
                <a16:creationId xmlns:a16="http://schemas.microsoft.com/office/drawing/2014/main" id="{FA4CE417-B84B-2B0B-A746-43D4BBA4E0C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259302" y="5499070"/>
            <a:ext cx="914400" cy="914400"/>
          </a:xfrm>
          <a:prstGeom prst="rect">
            <a:avLst/>
          </a:prstGeom>
        </p:spPr>
      </p:pic>
      <p:pic>
        <p:nvPicPr>
          <p:cNvPr id="32" name="Graphic 31" descr="Chess pieces with solid fill">
            <a:extLst>
              <a:ext uri="{FF2B5EF4-FFF2-40B4-BE49-F238E27FC236}">
                <a16:creationId xmlns:a16="http://schemas.microsoft.com/office/drawing/2014/main" id="{2D65DFE3-6B00-3678-C626-61148EF5FE3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735574" y="2471527"/>
            <a:ext cx="914400" cy="914400"/>
          </a:xfrm>
          <a:prstGeom prst="rect">
            <a:avLst/>
          </a:prstGeom>
        </p:spPr>
      </p:pic>
      <p:pic>
        <p:nvPicPr>
          <p:cNvPr id="34" name="Graphic 33" descr="Lightbulb with solid fill">
            <a:extLst>
              <a:ext uri="{FF2B5EF4-FFF2-40B4-BE49-F238E27FC236}">
                <a16:creationId xmlns:a16="http://schemas.microsoft.com/office/drawing/2014/main" id="{996AFEE0-00BF-2A5C-BABD-65D55907A54F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211846" y="4488112"/>
            <a:ext cx="914400" cy="914400"/>
          </a:xfrm>
          <a:prstGeom prst="rect">
            <a:avLst/>
          </a:prstGeom>
        </p:spPr>
      </p:pic>
      <p:pic>
        <p:nvPicPr>
          <p:cNvPr id="36" name="Graphic 35" descr="Calligraphy Pen with solid fill">
            <a:extLst>
              <a:ext uri="{FF2B5EF4-FFF2-40B4-BE49-F238E27FC236}">
                <a16:creationId xmlns:a16="http://schemas.microsoft.com/office/drawing/2014/main" id="{03EB0C47-96B8-018D-5694-F329062BA3ED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735574" y="4488112"/>
            <a:ext cx="914400" cy="914400"/>
          </a:xfrm>
          <a:prstGeom prst="rect">
            <a:avLst/>
          </a:prstGeom>
        </p:spPr>
      </p:pic>
      <p:pic>
        <p:nvPicPr>
          <p:cNvPr id="38" name="Graphic 37" descr="Pasta with solid fill">
            <a:extLst>
              <a:ext uri="{FF2B5EF4-FFF2-40B4-BE49-F238E27FC236}">
                <a16:creationId xmlns:a16="http://schemas.microsoft.com/office/drawing/2014/main" id="{B7154CF6-3A28-62AC-6606-978B20CECF8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949982" y="5517750"/>
            <a:ext cx="914400" cy="914400"/>
          </a:xfrm>
          <a:prstGeom prst="rect">
            <a:avLst/>
          </a:prstGeom>
        </p:spPr>
      </p:pic>
      <p:pic>
        <p:nvPicPr>
          <p:cNvPr id="40" name="Graphic 39" descr="Clapper board with solid fill">
            <a:extLst>
              <a:ext uri="{FF2B5EF4-FFF2-40B4-BE49-F238E27FC236}">
                <a16:creationId xmlns:a16="http://schemas.microsoft.com/office/drawing/2014/main" id="{F9DCACE0-F4BA-B2EA-A6C2-5F9A620CBC8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997438" y="4488112"/>
            <a:ext cx="914400" cy="914400"/>
          </a:xfrm>
          <a:prstGeom prst="rect">
            <a:avLst/>
          </a:prstGeom>
        </p:spPr>
      </p:pic>
      <p:pic>
        <p:nvPicPr>
          <p:cNvPr id="42" name="Graphic 41" descr="Drum set with solid fill">
            <a:extLst>
              <a:ext uri="{FF2B5EF4-FFF2-40B4-BE49-F238E27FC236}">
                <a16:creationId xmlns:a16="http://schemas.microsoft.com/office/drawing/2014/main" id="{7217438A-8C51-54D4-F2F9-0EFF26FF44A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949982" y="3477154"/>
            <a:ext cx="914400" cy="914400"/>
          </a:xfrm>
          <a:prstGeom prst="rect">
            <a:avLst/>
          </a:prstGeom>
        </p:spPr>
      </p:pic>
      <p:pic>
        <p:nvPicPr>
          <p:cNvPr id="44" name="Graphic 43" descr="Convertible with solid fill">
            <a:extLst>
              <a:ext uri="{FF2B5EF4-FFF2-40B4-BE49-F238E27FC236}">
                <a16:creationId xmlns:a16="http://schemas.microsoft.com/office/drawing/2014/main" id="{A9B0C909-AC75-0437-BEFE-BA3EBC3B41FA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6997438" y="2471527"/>
            <a:ext cx="914400" cy="914400"/>
          </a:xfrm>
          <a:prstGeom prst="rect">
            <a:avLst/>
          </a:prstGeom>
        </p:spPr>
      </p:pic>
      <p:pic>
        <p:nvPicPr>
          <p:cNvPr id="46" name="Graphic 45" descr="Cheers with solid fill">
            <a:extLst>
              <a:ext uri="{FF2B5EF4-FFF2-40B4-BE49-F238E27FC236}">
                <a16:creationId xmlns:a16="http://schemas.microsoft.com/office/drawing/2014/main" id="{646B87D2-3D59-B146-4C0E-160701A5005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6997438" y="3477154"/>
            <a:ext cx="914400" cy="914400"/>
          </a:xfrm>
          <a:prstGeom prst="rect">
            <a:avLst/>
          </a:prstGeom>
        </p:spPr>
      </p:pic>
      <p:pic>
        <p:nvPicPr>
          <p:cNvPr id="48" name="Graphic 47" descr="Podium with solid fill">
            <a:extLst>
              <a:ext uri="{FF2B5EF4-FFF2-40B4-BE49-F238E27FC236}">
                <a16:creationId xmlns:a16="http://schemas.microsoft.com/office/drawing/2014/main" id="{D86E8F53-9D6B-53F6-8C9E-2C0714FCA5B6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4473710" y="5517750"/>
            <a:ext cx="914400" cy="914400"/>
          </a:xfrm>
          <a:prstGeom prst="rect">
            <a:avLst/>
          </a:prstGeom>
        </p:spPr>
      </p:pic>
      <p:pic>
        <p:nvPicPr>
          <p:cNvPr id="50" name="Graphic 49" descr="Headphones with solid fill">
            <a:extLst>
              <a:ext uri="{FF2B5EF4-FFF2-40B4-BE49-F238E27FC236}">
                <a16:creationId xmlns:a16="http://schemas.microsoft.com/office/drawing/2014/main" id="{8A50DDBC-BD40-2D50-63B6-C03DE482456E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259302" y="3477154"/>
            <a:ext cx="914400" cy="914400"/>
          </a:xfrm>
          <a:prstGeom prst="rect">
            <a:avLst/>
          </a:prstGeom>
        </p:spPr>
      </p:pic>
      <p:pic>
        <p:nvPicPr>
          <p:cNvPr id="52" name="Graphic 51" descr="Microphone with solid fill">
            <a:extLst>
              <a:ext uri="{FF2B5EF4-FFF2-40B4-BE49-F238E27FC236}">
                <a16:creationId xmlns:a16="http://schemas.microsoft.com/office/drawing/2014/main" id="{AD083FCA-DAD8-A34F-0240-A4D8D04F8FD1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473710" y="2471527"/>
            <a:ext cx="914400" cy="914400"/>
          </a:xfrm>
          <a:prstGeom prst="rect">
            <a:avLst/>
          </a:prstGeom>
        </p:spPr>
      </p:pic>
      <p:pic>
        <p:nvPicPr>
          <p:cNvPr id="54" name="Graphic 53" descr="Blueprint with solid fill">
            <a:extLst>
              <a:ext uri="{FF2B5EF4-FFF2-40B4-BE49-F238E27FC236}">
                <a16:creationId xmlns:a16="http://schemas.microsoft.com/office/drawing/2014/main" id="{5D3CE036-4FA9-1E5E-31CA-951BD77D4948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688118" y="2471527"/>
            <a:ext cx="914400" cy="914400"/>
          </a:xfrm>
          <a:prstGeom prst="rect">
            <a:avLst/>
          </a:prstGeom>
        </p:spPr>
      </p:pic>
      <p:pic>
        <p:nvPicPr>
          <p:cNvPr id="56" name="Graphic 55" descr="Tools with solid fill">
            <a:extLst>
              <a:ext uri="{FF2B5EF4-FFF2-40B4-BE49-F238E27FC236}">
                <a16:creationId xmlns:a16="http://schemas.microsoft.com/office/drawing/2014/main" id="{325725B5-0E2E-C5D7-1C0E-060EA8C31064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4473710" y="4488112"/>
            <a:ext cx="914400" cy="914400"/>
          </a:xfrm>
          <a:prstGeom prst="rect">
            <a:avLst/>
          </a:prstGeom>
        </p:spPr>
      </p:pic>
      <p:pic>
        <p:nvPicPr>
          <p:cNvPr id="58" name="Graphic 57" descr="Game controller with solid fill">
            <a:extLst>
              <a:ext uri="{FF2B5EF4-FFF2-40B4-BE49-F238E27FC236}">
                <a16:creationId xmlns:a16="http://schemas.microsoft.com/office/drawing/2014/main" id="{05AF9232-3A20-2020-F684-C2113F0A5561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0783032" y="2471527"/>
            <a:ext cx="914400" cy="914400"/>
          </a:xfrm>
          <a:prstGeom prst="rect">
            <a:avLst/>
          </a:prstGeom>
        </p:spPr>
      </p:pic>
      <p:pic>
        <p:nvPicPr>
          <p:cNvPr id="60" name="Graphic 59" descr="Closed book with solid fill">
            <a:extLst>
              <a:ext uri="{FF2B5EF4-FFF2-40B4-BE49-F238E27FC236}">
                <a16:creationId xmlns:a16="http://schemas.microsoft.com/office/drawing/2014/main" id="{2A0374B3-AAE9-E637-14E9-7885DEE94CAA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8259302" y="4488112"/>
            <a:ext cx="914400" cy="914400"/>
          </a:xfrm>
          <a:prstGeom prst="rect">
            <a:avLst/>
          </a:prstGeom>
        </p:spPr>
      </p:pic>
      <p:pic>
        <p:nvPicPr>
          <p:cNvPr id="62" name="Graphic 61" descr="Shopping bag with solid fill">
            <a:extLst>
              <a:ext uri="{FF2B5EF4-FFF2-40B4-BE49-F238E27FC236}">
                <a16:creationId xmlns:a16="http://schemas.microsoft.com/office/drawing/2014/main" id="{7AAF582C-FFE0-8987-2E78-0432D58E1253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9521166" y="2471527"/>
            <a:ext cx="914400" cy="914400"/>
          </a:xfrm>
          <a:prstGeom prst="rect">
            <a:avLst/>
          </a:prstGeom>
        </p:spPr>
      </p:pic>
      <p:pic>
        <p:nvPicPr>
          <p:cNvPr id="64" name="Graphic 63" descr="Radar Chart with solid fill">
            <a:extLst>
              <a:ext uri="{FF2B5EF4-FFF2-40B4-BE49-F238E27FC236}">
                <a16:creationId xmlns:a16="http://schemas.microsoft.com/office/drawing/2014/main" id="{6B035AF5-97FB-E66D-810E-E468F4931732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9521166" y="3477154"/>
            <a:ext cx="914400" cy="914400"/>
          </a:xfrm>
          <a:prstGeom prst="rect">
            <a:avLst/>
          </a:prstGeom>
        </p:spPr>
      </p:pic>
      <p:pic>
        <p:nvPicPr>
          <p:cNvPr id="66" name="Graphic 65" descr="Diving with solid fill">
            <a:extLst>
              <a:ext uri="{FF2B5EF4-FFF2-40B4-BE49-F238E27FC236}">
                <a16:creationId xmlns:a16="http://schemas.microsoft.com/office/drawing/2014/main" id="{5FA2D76D-DDEB-E23C-E99B-14389E50E5AA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9521166" y="4488112"/>
            <a:ext cx="914400" cy="914400"/>
          </a:xfrm>
          <a:prstGeom prst="rect">
            <a:avLst/>
          </a:prstGeom>
        </p:spPr>
      </p:pic>
      <p:pic>
        <p:nvPicPr>
          <p:cNvPr id="68" name="Graphic 67" descr="Ui Ux with solid fill">
            <a:extLst>
              <a:ext uri="{FF2B5EF4-FFF2-40B4-BE49-F238E27FC236}">
                <a16:creationId xmlns:a16="http://schemas.microsoft.com/office/drawing/2014/main" id="{4EEB93F9-FD15-43F6-E1D9-F77F854443AA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9521166" y="5517750"/>
            <a:ext cx="914400" cy="914400"/>
          </a:xfrm>
          <a:prstGeom prst="rect">
            <a:avLst/>
          </a:prstGeom>
        </p:spPr>
      </p:pic>
      <p:pic>
        <p:nvPicPr>
          <p:cNvPr id="70" name="Graphic 69" descr="Coffee with solid fill">
            <a:extLst>
              <a:ext uri="{FF2B5EF4-FFF2-40B4-BE49-F238E27FC236}">
                <a16:creationId xmlns:a16="http://schemas.microsoft.com/office/drawing/2014/main" id="{88BB4D60-0694-9582-429F-0617407C0551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0783032" y="5517750"/>
            <a:ext cx="914400" cy="914400"/>
          </a:xfrm>
          <a:prstGeom prst="rect">
            <a:avLst/>
          </a:prstGeom>
        </p:spPr>
      </p:pic>
      <p:pic>
        <p:nvPicPr>
          <p:cNvPr id="72" name="Graphic 71" descr="Cupcake with solid fill">
            <a:extLst>
              <a:ext uri="{FF2B5EF4-FFF2-40B4-BE49-F238E27FC236}">
                <a16:creationId xmlns:a16="http://schemas.microsoft.com/office/drawing/2014/main" id="{D3726343-5460-C671-0E66-A19AC640BEC5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0783032" y="3477154"/>
            <a:ext cx="914400" cy="914400"/>
          </a:xfrm>
          <a:prstGeom prst="rect">
            <a:avLst/>
          </a:prstGeom>
        </p:spPr>
      </p:pic>
      <p:pic>
        <p:nvPicPr>
          <p:cNvPr id="74" name="Graphic 73" descr="Newspaper with solid fill">
            <a:extLst>
              <a:ext uri="{FF2B5EF4-FFF2-40B4-BE49-F238E27FC236}">
                <a16:creationId xmlns:a16="http://schemas.microsoft.com/office/drawing/2014/main" id="{4DCA4A29-3134-D75C-D49F-612B9504FB8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0783032" y="448811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43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026" name="Picture 2" descr="Image result for confucius">
            <a:extLst>
              <a:ext uri="{FF2B5EF4-FFF2-40B4-BE49-F238E27FC236}">
                <a16:creationId xmlns:a16="http://schemas.microsoft.com/office/drawing/2014/main" id="{9DEF5325-A05D-4D71-B820-D23C7E219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13" r="15975" b="2"/>
          <a:stretch/>
        </p:blipFill>
        <p:spPr bwMode="auto">
          <a:xfrm>
            <a:off x="-1504" y="0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E615276-D33F-409F-BBBE-49B617E9C946}"/>
              </a:ext>
            </a:extLst>
          </p:cNvPr>
          <p:cNvGrpSpPr/>
          <p:nvPr/>
        </p:nvGrpSpPr>
        <p:grpSpPr>
          <a:xfrm>
            <a:off x="329523" y="1533353"/>
            <a:ext cx="3428214" cy="3790011"/>
            <a:chOff x="493337" y="1374206"/>
            <a:chExt cx="3428214" cy="379001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DBB649-3241-4FA9-ACD3-DE1D54E6222B}"/>
                </a:ext>
              </a:extLst>
            </p:cNvPr>
            <p:cNvSpPr txBox="1"/>
            <p:nvPr/>
          </p:nvSpPr>
          <p:spPr>
            <a:xfrm>
              <a:off x="493337" y="1374206"/>
              <a:ext cx="3428214" cy="3416320"/>
            </a:xfrm>
            <a:prstGeom prst="rect">
              <a:avLst/>
            </a:prstGeom>
            <a:solidFill>
              <a:srgbClr val="00AEEF"/>
            </a:solidFill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IN" sz="3600" b="1" i="1">
                  <a:solidFill>
                    <a:schemeClr val="bg1"/>
                  </a:solidFill>
                  <a:latin typeface="Calibri"/>
                  <a:cs typeface="Calibri"/>
                </a:rPr>
                <a:t>“Choose a job you love,</a:t>
              </a:r>
              <a:br>
                <a:rPr lang="en-IN" sz="3600" b="1" i="1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en-IN" sz="3600" b="1" i="1">
                  <a:solidFill>
                    <a:schemeClr val="bg1"/>
                  </a:solidFill>
                  <a:latin typeface="Calibri"/>
                  <a:cs typeface="Calibri"/>
                </a:rPr>
                <a:t>And you will never have to </a:t>
              </a:r>
              <a:br>
                <a:rPr lang="en-IN" sz="3600" b="1" i="1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en-IN" sz="3600" b="1" i="1">
                  <a:solidFill>
                    <a:schemeClr val="bg1"/>
                  </a:solidFill>
                  <a:latin typeface="Calibri"/>
                  <a:cs typeface="Calibri"/>
                </a:rPr>
                <a:t>work a day in your life.”</a:t>
              </a:r>
              <a:endParaRPr lang="en-US" sz="3600" b="1">
                <a:solidFill>
                  <a:schemeClr val="bg1"/>
                </a:solidFill>
                <a:latin typeface="Calibri"/>
                <a:cs typeface="Calibri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3FB96B-2F46-4607-8EE9-BE84EC88484B}"/>
                </a:ext>
              </a:extLst>
            </p:cNvPr>
            <p:cNvSpPr txBox="1"/>
            <p:nvPr/>
          </p:nvSpPr>
          <p:spPr>
            <a:xfrm>
              <a:off x="879019" y="4794885"/>
              <a:ext cx="133546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dirty="0">
                  <a:solidFill>
                    <a:schemeClr val="tx2">
                      <a:lumMod val="50000"/>
                    </a:schemeClr>
                  </a:solidFill>
                </a:rPr>
                <a:t>Confucius</a:t>
              </a:r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1317BE3-6135-842A-00E8-D3776B869832}"/>
              </a:ext>
            </a:extLst>
          </p:cNvPr>
          <p:cNvSpPr txBox="1">
            <a:spLocks/>
          </p:cNvSpPr>
          <p:nvPr/>
        </p:nvSpPr>
        <p:spPr>
          <a:xfrm>
            <a:off x="9125065" y="2392393"/>
            <a:ext cx="1975916" cy="46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bg1"/>
                </a:solidFill>
                <a:latin typeface="Calibri"/>
                <a:cs typeface="Calibri"/>
              </a:rPr>
              <a:t>Happiness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24E608BE-02EC-CD9D-5C31-0AE7EEE27B59}"/>
              </a:ext>
            </a:extLst>
          </p:cNvPr>
          <p:cNvSpPr txBox="1">
            <a:spLocks/>
          </p:cNvSpPr>
          <p:nvPr/>
        </p:nvSpPr>
        <p:spPr>
          <a:xfrm>
            <a:off x="9125065" y="4005094"/>
            <a:ext cx="3066935" cy="46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bg1"/>
                </a:solidFill>
                <a:latin typeface="Calibri"/>
                <a:cs typeface="Calibri"/>
              </a:rPr>
              <a:t>Respect in socie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012D1D-9D5A-4661-3D0E-161ABC6BDF4F}"/>
              </a:ext>
            </a:extLst>
          </p:cNvPr>
          <p:cNvSpPr txBox="1">
            <a:spLocks/>
          </p:cNvSpPr>
          <p:nvPr/>
        </p:nvSpPr>
        <p:spPr>
          <a:xfrm>
            <a:off x="9125065" y="1854826"/>
            <a:ext cx="1476367" cy="46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bg1"/>
                </a:solidFill>
                <a:latin typeface="Calibri"/>
                <a:cs typeface="Calibri"/>
              </a:rPr>
              <a:t>Fam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677ABD9-50D4-5792-653B-3D0BCD59F0BB}"/>
              </a:ext>
            </a:extLst>
          </p:cNvPr>
          <p:cNvSpPr txBox="1">
            <a:spLocks/>
          </p:cNvSpPr>
          <p:nvPr/>
        </p:nvSpPr>
        <p:spPr>
          <a:xfrm>
            <a:off x="9125065" y="2929960"/>
            <a:ext cx="1703063" cy="46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bg1"/>
                </a:solidFill>
                <a:latin typeface="Calibri"/>
                <a:cs typeface="Calibri"/>
              </a:rPr>
              <a:t>Security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F037AB3-A2D4-ED1F-4470-2EF3064A748B}"/>
              </a:ext>
            </a:extLst>
          </p:cNvPr>
          <p:cNvSpPr txBox="1">
            <a:spLocks/>
          </p:cNvSpPr>
          <p:nvPr/>
        </p:nvSpPr>
        <p:spPr>
          <a:xfrm>
            <a:off x="9125065" y="1317259"/>
            <a:ext cx="2112058" cy="46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>
                <a:solidFill>
                  <a:schemeClr val="bg1"/>
                </a:solidFill>
                <a:latin typeface="Calibri"/>
                <a:cs typeface="Calibri"/>
              </a:rPr>
              <a:t>Satisfaction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0130432E-C57C-FCE4-F8F9-02E33E6EB7DB}"/>
              </a:ext>
            </a:extLst>
          </p:cNvPr>
          <p:cNvSpPr txBox="1">
            <a:spLocks/>
          </p:cNvSpPr>
          <p:nvPr/>
        </p:nvSpPr>
        <p:spPr>
          <a:xfrm>
            <a:off x="9125065" y="3467527"/>
            <a:ext cx="1384571" cy="46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800" dirty="0">
                <a:solidFill>
                  <a:schemeClr val="bg1"/>
                </a:solidFill>
                <a:latin typeface="Calibri"/>
                <a:ea typeface="+mn-ea"/>
                <a:cs typeface="Calibri"/>
              </a:rPr>
              <a:t>Money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5DD6310B-28B0-511D-14FD-8DC935E47132}"/>
              </a:ext>
            </a:extLst>
          </p:cNvPr>
          <p:cNvSpPr txBox="1">
            <a:spLocks/>
          </p:cNvSpPr>
          <p:nvPr/>
        </p:nvSpPr>
        <p:spPr>
          <a:xfrm>
            <a:off x="9125065" y="4542659"/>
            <a:ext cx="1384571" cy="46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800" dirty="0">
                <a:solidFill>
                  <a:schemeClr val="bg1"/>
                </a:solidFill>
                <a:latin typeface="Calibri"/>
                <a:ea typeface="+mn-ea"/>
                <a:cs typeface="Calibri"/>
              </a:rPr>
              <a:t>Other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EBF749-AD7D-8653-53BA-0697C15ED140}"/>
              </a:ext>
            </a:extLst>
          </p:cNvPr>
          <p:cNvGrpSpPr/>
          <p:nvPr/>
        </p:nvGrpSpPr>
        <p:grpSpPr>
          <a:xfrm>
            <a:off x="193809" y="213958"/>
            <a:ext cx="2441560" cy="577081"/>
            <a:chOff x="139488" y="6240274"/>
            <a:chExt cx="2441560" cy="57708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B2151C-1F15-9061-1D92-357256019DD5}"/>
                </a:ext>
              </a:extLst>
            </p:cNvPr>
            <p:cNvSpPr/>
            <p:nvPr/>
          </p:nvSpPr>
          <p:spPr>
            <a:xfrm>
              <a:off x="1267924" y="6240274"/>
              <a:ext cx="1313124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 Light" charset="0"/>
                  <a:ea typeface="Segoe Light" charset="0"/>
                  <a:cs typeface="Segoe Light" charset="0"/>
                </a:rPr>
                <a:t>BID, PROPOSAL and BD 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  <a:latin typeface="Segoe" charset="0"/>
                  <a:ea typeface="Segoe" charset="0"/>
                  <a:cs typeface="Segoe" charset="0"/>
                </a:rPr>
                <a:t>ASSOCIATION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87CE211-E2CD-4D89-02B0-7F079AA5386E}"/>
                </a:ext>
              </a:extLst>
            </p:cNvPr>
            <p:cNvCxnSpPr/>
            <p:nvPr/>
          </p:nvCxnSpPr>
          <p:spPr>
            <a:xfrm>
              <a:off x="1243530" y="6253375"/>
              <a:ext cx="0" cy="5284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2B69855-EC99-BD92-537F-D24D60D1CD39}"/>
                </a:ext>
              </a:extLst>
            </p:cNvPr>
            <p:cNvGrpSpPr/>
            <p:nvPr/>
          </p:nvGrpSpPr>
          <p:grpSpPr>
            <a:xfrm>
              <a:off x="139488" y="6267451"/>
              <a:ext cx="1010344" cy="514350"/>
              <a:chOff x="315913" y="490538"/>
              <a:chExt cx="11534775" cy="5872163"/>
            </a:xfrm>
            <a:solidFill>
              <a:srgbClr val="01B0F0"/>
            </a:solidFill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6BE4BBCB-E6CC-13C2-FCE1-6E9C4C4D83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5313" y="1851026"/>
                <a:ext cx="2681288" cy="2697163"/>
              </a:xfrm>
              <a:custGeom>
                <a:avLst/>
                <a:gdLst>
                  <a:gd name="T0" fmla="*/ 1780 w 3523"/>
                  <a:gd name="T1" fmla="*/ 1030 h 3597"/>
                  <a:gd name="T2" fmla="*/ 1267 w 3523"/>
                  <a:gd name="T3" fmla="*/ 2297 h 3597"/>
                  <a:gd name="T4" fmla="*/ 2271 w 3523"/>
                  <a:gd name="T5" fmla="*/ 2297 h 3597"/>
                  <a:gd name="T6" fmla="*/ 1780 w 3523"/>
                  <a:gd name="T7" fmla="*/ 1030 h 3597"/>
                  <a:gd name="T8" fmla="*/ 1045 w 3523"/>
                  <a:gd name="T9" fmla="*/ 2852 h 3597"/>
                  <a:gd name="T10" fmla="*/ 728 w 3523"/>
                  <a:gd name="T11" fmla="*/ 3597 h 3597"/>
                  <a:gd name="T12" fmla="*/ 0 w 3523"/>
                  <a:gd name="T13" fmla="*/ 3597 h 3597"/>
                  <a:gd name="T14" fmla="*/ 1526 w 3523"/>
                  <a:gd name="T15" fmla="*/ 0 h 3597"/>
                  <a:gd name="T16" fmla="*/ 2044 w 3523"/>
                  <a:gd name="T17" fmla="*/ 0 h 3597"/>
                  <a:gd name="T18" fmla="*/ 3523 w 3523"/>
                  <a:gd name="T19" fmla="*/ 3597 h 3597"/>
                  <a:gd name="T20" fmla="*/ 2788 w 3523"/>
                  <a:gd name="T21" fmla="*/ 3597 h 3597"/>
                  <a:gd name="T22" fmla="*/ 2487 w 3523"/>
                  <a:gd name="T23" fmla="*/ 2852 h 3597"/>
                  <a:gd name="T24" fmla="*/ 1045 w 3523"/>
                  <a:gd name="T25" fmla="*/ 2852 h 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3" h="3597">
                    <a:moveTo>
                      <a:pt x="1780" y="1030"/>
                    </a:moveTo>
                    <a:lnTo>
                      <a:pt x="1267" y="2297"/>
                    </a:lnTo>
                    <a:lnTo>
                      <a:pt x="2271" y="2297"/>
                    </a:lnTo>
                    <a:lnTo>
                      <a:pt x="1780" y="1030"/>
                    </a:lnTo>
                    <a:close/>
                    <a:moveTo>
                      <a:pt x="1045" y="2852"/>
                    </a:moveTo>
                    <a:lnTo>
                      <a:pt x="728" y="3597"/>
                    </a:lnTo>
                    <a:lnTo>
                      <a:pt x="0" y="3597"/>
                    </a:lnTo>
                    <a:lnTo>
                      <a:pt x="1526" y="0"/>
                    </a:lnTo>
                    <a:lnTo>
                      <a:pt x="2044" y="0"/>
                    </a:lnTo>
                    <a:lnTo>
                      <a:pt x="3523" y="3597"/>
                    </a:lnTo>
                    <a:lnTo>
                      <a:pt x="2788" y="3597"/>
                    </a:lnTo>
                    <a:lnTo>
                      <a:pt x="2487" y="2852"/>
                    </a:lnTo>
                    <a:lnTo>
                      <a:pt x="1045" y="28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1C0D2A45-0B8C-12D5-8AAE-35A04540D0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063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399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7" y="74"/>
                      <a:pt x="1959" y="269"/>
                    </a:cubicBezTo>
                    <a:cubicBezTo>
                      <a:pt x="2186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62FF07B7-6BE4-DE24-1823-E2F7E7700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1858963"/>
                <a:ext cx="3157538" cy="2725738"/>
              </a:xfrm>
              <a:custGeom>
                <a:avLst/>
                <a:gdLst>
                  <a:gd name="T0" fmla="*/ 655 w 4147"/>
                  <a:gd name="T1" fmla="*/ 0 h 3634"/>
                  <a:gd name="T2" fmla="*/ 1125 w 4147"/>
                  <a:gd name="T3" fmla="*/ 0 h 3634"/>
                  <a:gd name="T4" fmla="*/ 2086 w 4147"/>
                  <a:gd name="T5" fmla="*/ 2303 h 3634"/>
                  <a:gd name="T6" fmla="*/ 3085 w 4147"/>
                  <a:gd name="T7" fmla="*/ 0 h 3634"/>
                  <a:gd name="T8" fmla="*/ 3560 w 4147"/>
                  <a:gd name="T9" fmla="*/ 0 h 3634"/>
                  <a:gd name="T10" fmla="*/ 4147 w 4147"/>
                  <a:gd name="T11" fmla="*/ 3587 h 3634"/>
                  <a:gd name="T12" fmla="*/ 3455 w 4147"/>
                  <a:gd name="T13" fmla="*/ 3587 h 3634"/>
                  <a:gd name="T14" fmla="*/ 3138 w 4147"/>
                  <a:gd name="T15" fmla="*/ 1416 h 3634"/>
                  <a:gd name="T16" fmla="*/ 2171 w 4147"/>
                  <a:gd name="T17" fmla="*/ 3634 h 3634"/>
                  <a:gd name="T18" fmla="*/ 1981 w 4147"/>
                  <a:gd name="T19" fmla="*/ 3634 h 3634"/>
                  <a:gd name="T20" fmla="*/ 1046 w 4147"/>
                  <a:gd name="T21" fmla="*/ 1416 h 3634"/>
                  <a:gd name="T22" fmla="*/ 692 w 4147"/>
                  <a:gd name="T23" fmla="*/ 3587 h 3634"/>
                  <a:gd name="T24" fmla="*/ 0 w 4147"/>
                  <a:gd name="T25" fmla="*/ 3587 h 3634"/>
                  <a:gd name="T26" fmla="*/ 655 w 4147"/>
                  <a:gd name="T27" fmla="*/ 0 h 3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47" h="3634">
                    <a:moveTo>
                      <a:pt x="655" y="0"/>
                    </a:moveTo>
                    <a:lnTo>
                      <a:pt x="1125" y="0"/>
                    </a:lnTo>
                    <a:lnTo>
                      <a:pt x="2086" y="2303"/>
                    </a:lnTo>
                    <a:lnTo>
                      <a:pt x="3085" y="0"/>
                    </a:lnTo>
                    <a:lnTo>
                      <a:pt x="3560" y="0"/>
                    </a:lnTo>
                    <a:lnTo>
                      <a:pt x="4147" y="3587"/>
                    </a:lnTo>
                    <a:lnTo>
                      <a:pt x="3455" y="3587"/>
                    </a:lnTo>
                    <a:lnTo>
                      <a:pt x="3138" y="1416"/>
                    </a:lnTo>
                    <a:lnTo>
                      <a:pt x="2171" y="3634"/>
                    </a:lnTo>
                    <a:lnTo>
                      <a:pt x="1981" y="3634"/>
                    </a:lnTo>
                    <a:lnTo>
                      <a:pt x="1046" y="1416"/>
                    </a:lnTo>
                    <a:lnTo>
                      <a:pt x="692" y="3587"/>
                    </a:lnTo>
                    <a:lnTo>
                      <a:pt x="0" y="3587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0504C363-FB17-FF71-052E-CC35E9CAD1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85388" y="1906588"/>
                <a:ext cx="1765300" cy="2641600"/>
              </a:xfrm>
              <a:custGeom>
                <a:avLst/>
                <a:gdLst>
                  <a:gd name="T0" fmla="*/ 966 w 2319"/>
                  <a:gd name="T1" fmla="*/ 1621 h 3523"/>
                  <a:gd name="T2" fmla="*/ 1611 w 2319"/>
                  <a:gd name="T3" fmla="*/ 1104 h 3523"/>
                  <a:gd name="T4" fmla="*/ 924 w 2319"/>
                  <a:gd name="T5" fmla="*/ 597 h 3523"/>
                  <a:gd name="T6" fmla="*/ 686 w 2319"/>
                  <a:gd name="T7" fmla="*/ 597 h 3523"/>
                  <a:gd name="T8" fmla="*/ 686 w 2319"/>
                  <a:gd name="T9" fmla="*/ 1621 h 3523"/>
                  <a:gd name="T10" fmla="*/ 966 w 2319"/>
                  <a:gd name="T11" fmla="*/ 1621 h 3523"/>
                  <a:gd name="T12" fmla="*/ 686 w 2319"/>
                  <a:gd name="T13" fmla="*/ 3523 h 3523"/>
                  <a:gd name="T14" fmla="*/ 0 w 2319"/>
                  <a:gd name="T15" fmla="*/ 3523 h 3523"/>
                  <a:gd name="T16" fmla="*/ 0 w 2319"/>
                  <a:gd name="T17" fmla="*/ 0 h 3523"/>
                  <a:gd name="T18" fmla="*/ 1030 w 2319"/>
                  <a:gd name="T19" fmla="*/ 0 h 3523"/>
                  <a:gd name="T20" fmla="*/ 1959 w 2319"/>
                  <a:gd name="T21" fmla="*/ 269 h 3523"/>
                  <a:gd name="T22" fmla="*/ 2319 w 2319"/>
                  <a:gd name="T23" fmla="*/ 1104 h 3523"/>
                  <a:gd name="T24" fmla="*/ 1130 w 2319"/>
                  <a:gd name="T25" fmla="*/ 2218 h 3523"/>
                  <a:gd name="T26" fmla="*/ 686 w 2319"/>
                  <a:gd name="T27" fmla="*/ 2218 h 3523"/>
                  <a:gd name="T28" fmla="*/ 686 w 2319"/>
                  <a:gd name="T29" fmla="*/ 3523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19" h="3523">
                    <a:moveTo>
                      <a:pt x="966" y="1621"/>
                    </a:moveTo>
                    <a:cubicBezTo>
                      <a:pt x="1400" y="1621"/>
                      <a:pt x="1611" y="1452"/>
                      <a:pt x="1611" y="1104"/>
                    </a:cubicBezTo>
                    <a:cubicBezTo>
                      <a:pt x="1611" y="755"/>
                      <a:pt x="1394" y="597"/>
                      <a:pt x="924" y="597"/>
                    </a:cubicBezTo>
                    <a:lnTo>
                      <a:pt x="686" y="597"/>
                    </a:lnTo>
                    <a:lnTo>
                      <a:pt x="686" y="1621"/>
                    </a:lnTo>
                    <a:lnTo>
                      <a:pt x="966" y="1621"/>
                    </a:lnTo>
                    <a:close/>
                    <a:moveTo>
                      <a:pt x="686" y="3523"/>
                    </a:moveTo>
                    <a:lnTo>
                      <a:pt x="0" y="3523"/>
                    </a:lnTo>
                    <a:lnTo>
                      <a:pt x="0" y="0"/>
                    </a:lnTo>
                    <a:lnTo>
                      <a:pt x="1030" y="0"/>
                    </a:lnTo>
                    <a:cubicBezTo>
                      <a:pt x="1489" y="0"/>
                      <a:pt x="1738" y="74"/>
                      <a:pt x="1959" y="269"/>
                    </a:cubicBezTo>
                    <a:cubicBezTo>
                      <a:pt x="2187" y="470"/>
                      <a:pt x="2319" y="781"/>
                      <a:pt x="2319" y="1104"/>
                    </a:cubicBezTo>
                    <a:cubicBezTo>
                      <a:pt x="2319" y="1817"/>
                      <a:pt x="1891" y="2218"/>
                      <a:pt x="1130" y="2218"/>
                    </a:cubicBezTo>
                    <a:lnTo>
                      <a:pt x="686" y="2218"/>
                    </a:lnTo>
                    <a:lnTo>
                      <a:pt x="686" y="35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FA94FF08-E73F-DB04-DB58-632B8D0E0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3" y="3903663"/>
                <a:ext cx="3535363" cy="1768475"/>
              </a:xfrm>
              <a:custGeom>
                <a:avLst/>
                <a:gdLst>
                  <a:gd name="T0" fmla="*/ 358 w 4645"/>
                  <a:gd name="T1" fmla="*/ 645 h 2358"/>
                  <a:gd name="T2" fmla="*/ 2672 w 4645"/>
                  <a:gd name="T3" fmla="*/ 2285 h 2358"/>
                  <a:gd name="T4" fmla="*/ 3535 w 4645"/>
                  <a:gd name="T5" fmla="*/ 2344 h 2358"/>
                  <a:gd name="T6" fmla="*/ 4645 w 4645"/>
                  <a:gd name="T7" fmla="*/ 2129 h 2358"/>
                  <a:gd name="T8" fmla="*/ 4288 w 4645"/>
                  <a:gd name="T9" fmla="*/ 1483 h 2358"/>
                  <a:gd name="T10" fmla="*/ 3177 w 4645"/>
                  <a:gd name="T11" fmla="*/ 1699 h 2358"/>
                  <a:gd name="T12" fmla="*/ 0 w 4645"/>
                  <a:gd name="T13" fmla="*/ 0 h 2358"/>
                  <a:gd name="T14" fmla="*/ 358 w 4645"/>
                  <a:gd name="T15" fmla="*/ 645 h 2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45" h="2358">
                    <a:moveTo>
                      <a:pt x="358" y="645"/>
                    </a:moveTo>
                    <a:cubicBezTo>
                      <a:pt x="823" y="1487"/>
                      <a:pt x="1660" y="2094"/>
                      <a:pt x="2672" y="2285"/>
                    </a:cubicBezTo>
                    <a:cubicBezTo>
                      <a:pt x="2947" y="2337"/>
                      <a:pt x="3237" y="2358"/>
                      <a:pt x="3535" y="2344"/>
                    </a:cubicBezTo>
                    <a:cubicBezTo>
                      <a:pt x="3921" y="2326"/>
                      <a:pt x="4294" y="2252"/>
                      <a:pt x="4645" y="2129"/>
                    </a:cubicBezTo>
                    <a:lnTo>
                      <a:pt x="4288" y="1483"/>
                    </a:lnTo>
                    <a:cubicBezTo>
                      <a:pt x="3937" y="1606"/>
                      <a:pt x="3564" y="1681"/>
                      <a:pt x="3177" y="1699"/>
                    </a:cubicBezTo>
                    <a:cubicBezTo>
                      <a:pt x="1787" y="1762"/>
                      <a:pt x="592" y="1070"/>
                      <a:pt x="0" y="0"/>
                    </a:cubicBezTo>
                    <a:lnTo>
                      <a:pt x="358" y="6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39DD78C9-9A2A-56C6-D0AA-B19D263F7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13" y="842963"/>
                <a:ext cx="1084263" cy="3544888"/>
              </a:xfrm>
              <a:custGeom>
                <a:avLst/>
                <a:gdLst>
                  <a:gd name="T0" fmla="*/ 1250 w 1424"/>
                  <a:gd name="T1" fmla="*/ 333 h 4727"/>
                  <a:gd name="T2" fmla="*/ 1424 w 1424"/>
                  <a:gd name="T3" fmla="*/ 646 h 4727"/>
                  <a:gd name="T4" fmla="*/ 369 w 1424"/>
                  <a:gd name="T5" fmla="*/ 3104 h 4727"/>
                  <a:gd name="T6" fmla="*/ 766 w 1424"/>
                  <a:gd name="T7" fmla="*/ 4727 h 4727"/>
                  <a:gd name="T8" fmla="*/ 408 w 1424"/>
                  <a:gd name="T9" fmla="*/ 4082 h 4727"/>
                  <a:gd name="T10" fmla="*/ 12 w 1424"/>
                  <a:gd name="T11" fmla="*/ 2458 h 4727"/>
                  <a:gd name="T12" fmla="*/ 1067 w 1424"/>
                  <a:gd name="T13" fmla="*/ 0 h 4727"/>
                  <a:gd name="T14" fmla="*/ 1250 w 1424"/>
                  <a:gd name="T15" fmla="*/ 333 h 4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4" h="4727">
                    <a:moveTo>
                      <a:pt x="1250" y="333"/>
                    </a:moveTo>
                    <a:lnTo>
                      <a:pt x="1424" y="646"/>
                    </a:lnTo>
                    <a:cubicBezTo>
                      <a:pt x="786" y="1301"/>
                      <a:pt x="386" y="2168"/>
                      <a:pt x="369" y="3104"/>
                    </a:cubicBezTo>
                    <a:cubicBezTo>
                      <a:pt x="357" y="3698"/>
                      <a:pt x="502" y="4250"/>
                      <a:pt x="766" y="4727"/>
                    </a:cubicBezTo>
                    <a:lnTo>
                      <a:pt x="408" y="4082"/>
                    </a:lnTo>
                    <a:cubicBezTo>
                      <a:pt x="145" y="3604"/>
                      <a:pt x="0" y="3052"/>
                      <a:pt x="12" y="2458"/>
                    </a:cubicBezTo>
                    <a:cubicBezTo>
                      <a:pt x="29" y="1522"/>
                      <a:pt x="429" y="655"/>
                      <a:pt x="1067" y="0"/>
                    </a:cubicBezTo>
                    <a:lnTo>
                      <a:pt x="1250" y="3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5AD8950B-81E3-2390-A0F2-885D85C43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4718051"/>
                <a:ext cx="1744663" cy="1644650"/>
              </a:xfrm>
              <a:custGeom>
                <a:avLst/>
                <a:gdLst>
                  <a:gd name="T0" fmla="*/ 146 w 2291"/>
                  <a:gd name="T1" fmla="*/ 338 h 2193"/>
                  <a:gd name="T2" fmla="*/ 2291 w 2291"/>
                  <a:gd name="T3" fmla="*/ 2193 h 2193"/>
                  <a:gd name="T4" fmla="*/ 2145 w 2291"/>
                  <a:gd name="T5" fmla="*/ 1855 h 2193"/>
                  <a:gd name="T6" fmla="*/ 0 w 2291"/>
                  <a:gd name="T7" fmla="*/ 0 h 2193"/>
                  <a:gd name="T8" fmla="*/ 146 w 2291"/>
                  <a:gd name="T9" fmla="*/ 338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91" h="2193">
                    <a:moveTo>
                      <a:pt x="146" y="338"/>
                    </a:moveTo>
                    <a:cubicBezTo>
                      <a:pt x="528" y="1220"/>
                      <a:pt x="1303" y="1906"/>
                      <a:pt x="2291" y="2193"/>
                    </a:cubicBezTo>
                    <a:lnTo>
                      <a:pt x="2145" y="1855"/>
                    </a:lnTo>
                    <a:cubicBezTo>
                      <a:pt x="1156" y="1567"/>
                      <a:pt x="381" y="881"/>
                      <a:pt x="0" y="0"/>
                    </a:cubicBezTo>
                    <a:lnTo>
                      <a:pt x="146" y="3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0EDB4B30-53CA-0418-A423-478233695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4391026"/>
                <a:ext cx="2057400" cy="1730375"/>
              </a:xfrm>
              <a:custGeom>
                <a:avLst/>
                <a:gdLst>
                  <a:gd name="T0" fmla="*/ 380 w 2702"/>
                  <a:gd name="T1" fmla="*/ 680 h 2309"/>
                  <a:gd name="T2" fmla="*/ 2702 w 2702"/>
                  <a:gd name="T3" fmla="*/ 2309 h 2309"/>
                  <a:gd name="T4" fmla="*/ 2415 w 2702"/>
                  <a:gd name="T5" fmla="*/ 1798 h 2309"/>
                  <a:gd name="T6" fmla="*/ 0 w 2702"/>
                  <a:gd name="T7" fmla="*/ 0 h 2309"/>
                  <a:gd name="T8" fmla="*/ 380 w 2702"/>
                  <a:gd name="T9" fmla="*/ 680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2" h="2309">
                    <a:moveTo>
                      <a:pt x="380" y="680"/>
                    </a:moveTo>
                    <a:cubicBezTo>
                      <a:pt x="850" y="1519"/>
                      <a:pt x="1689" y="2123"/>
                      <a:pt x="2702" y="2309"/>
                    </a:cubicBezTo>
                    <a:lnTo>
                      <a:pt x="2415" y="1798"/>
                    </a:lnTo>
                    <a:cubicBezTo>
                      <a:pt x="1403" y="1612"/>
                      <a:pt x="469" y="839"/>
                      <a:pt x="0" y="0"/>
                    </a:cubicBezTo>
                    <a:lnTo>
                      <a:pt x="380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5AC3A4D4-B194-4B2E-FCF8-4149179D9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75" y="490538"/>
                <a:ext cx="2368550" cy="4319588"/>
              </a:xfrm>
              <a:custGeom>
                <a:avLst/>
                <a:gdLst>
                  <a:gd name="T0" fmla="*/ 3038 w 3113"/>
                  <a:gd name="T1" fmla="*/ 0 h 5761"/>
                  <a:gd name="T2" fmla="*/ 3113 w 3113"/>
                  <a:gd name="T3" fmla="*/ 597 h 5761"/>
                  <a:gd name="T4" fmla="*/ 2995 w 3113"/>
                  <a:gd name="T5" fmla="*/ 646 h 5761"/>
                  <a:gd name="T6" fmla="*/ 294 w 3113"/>
                  <a:gd name="T7" fmla="*/ 4139 h 5761"/>
                  <a:gd name="T8" fmla="*/ 698 w 3113"/>
                  <a:gd name="T9" fmla="*/ 5761 h 5761"/>
                  <a:gd name="T10" fmla="*/ 318 w 3113"/>
                  <a:gd name="T11" fmla="*/ 5080 h 5761"/>
                  <a:gd name="T12" fmla="*/ 8 w 3113"/>
                  <a:gd name="T13" fmla="*/ 3373 h 5761"/>
                  <a:gd name="T14" fmla="*/ 1068 w 3113"/>
                  <a:gd name="T15" fmla="*/ 1313 h 5761"/>
                  <a:gd name="T16" fmla="*/ 3038 w 3113"/>
                  <a:gd name="T17" fmla="*/ 0 h 5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13" h="5761">
                    <a:moveTo>
                      <a:pt x="3038" y="0"/>
                    </a:moveTo>
                    <a:lnTo>
                      <a:pt x="3113" y="597"/>
                    </a:lnTo>
                    <a:lnTo>
                      <a:pt x="2995" y="646"/>
                    </a:lnTo>
                    <a:cubicBezTo>
                      <a:pt x="1459" y="1135"/>
                      <a:pt x="317" y="2540"/>
                      <a:pt x="294" y="4139"/>
                    </a:cubicBezTo>
                    <a:cubicBezTo>
                      <a:pt x="285" y="4733"/>
                      <a:pt x="432" y="5285"/>
                      <a:pt x="698" y="5761"/>
                    </a:cubicBezTo>
                    <a:lnTo>
                      <a:pt x="318" y="5080"/>
                    </a:lnTo>
                    <a:cubicBezTo>
                      <a:pt x="52" y="4604"/>
                      <a:pt x="0" y="3967"/>
                      <a:pt x="8" y="3373"/>
                    </a:cubicBezTo>
                    <a:cubicBezTo>
                      <a:pt x="22" y="2437"/>
                      <a:pt x="632" y="1831"/>
                      <a:pt x="1068" y="1313"/>
                    </a:cubicBezTo>
                    <a:cubicBezTo>
                      <a:pt x="1710" y="552"/>
                      <a:pt x="3038" y="0"/>
                      <a:pt x="303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0F0B7E5E-7E64-9BC3-5070-287CACC22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" y="958851"/>
                <a:ext cx="3902075" cy="4124325"/>
              </a:xfrm>
              <a:custGeom>
                <a:avLst/>
                <a:gdLst>
                  <a:gd name="T0" fmla="*/ 5125 w 5125"/>
                  <a:gd name="T1" fmla="*/ 484 h 5500"/>
                  <a:gd name="T2" fmla="*/ 4025 w 5125"/>
                  <a:gd name="T3" fmla="*/ 334 h 5500"/>
                  <a:gd name="T4" fmla="*/ 199 w 5125"/>
                  <a:gd name="T5" fmla="*/ 3864 h 5500"/>
                  <a:gd name="T6" fmla="*/ 542 w 5125"/>
                  <a:gd name="T7" fmla="*/ 5500 h 5500"/>
                  <a:gd name="T8" fmla="*/ 374 w 5125"/>
                  <a:gd name="T9" fmla="*/ 5171 h 5500"/>
                  <a:gd name="T10" fmla="*/ 31 w 5125"/>
                  <a:gd name="T11" fmla="*/ 3535 h 5500"/>
                  <a:gd name="T12" fmla="*/ 3857 w 5125"/>
                  <a:gd name="T13" fmla="*/ 5 h 5500"/>
                  <a:gd name="T14" fmla="*/ 4958 w 5125"/>
                  <a:gd name="T15" fmla="*/ 155 h 5500"/>
                  <a:gd name="T16" fmla="*/ 5125 w 5125"/>
                  <a:gd name="T17" fmla="*/ 484 h 5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25" h="5500">
                    <a:moveTo>
                      <a:pt x="5125" y="484"/>
                    </a:moveTo>
                    <a:cubicBezTo>
                      <a:pt x="4781" y="382"/>
                      <a:pt x="4412" y="329"/>
                      <a:pt x="4025" y="334"/>
                    </a:cubicBezTo>
                    <a:cubicBezTo>
                      <a:pt x="2012" y="359"/>
                      <a:pt x="300" y="1939"/>
                      <a:pt x="199" y="3864"/>
                    </a:cubicBezTo>
                    <a:cubicBezTo>
                      <a:pt x="168" y="4458"/>
                      <a:pt x="293" y="5015"/>
                      <a:pt x="542" y="5500"/>
                    </a:cubicBezTo>
                    <a:lnTo>
                      <a:pt x="374" y="5171"/>
                    </a:lnTo>
                    <a:cubicBezTo>
                      <a:pt x="126" y="4685"/>
                      <a:pt x="0" y="4129"/>
                      <a:pt x="31" y="3535"/>
                    </a:cubicBezTo>
                    <a:cubicBezTo>
                      <a:pt x="132" y="1611"/>
                      <a:pt x="1845" y="30"/>
                      <a:pt x="3857" y="5"/>
                    </a:cubicBezTo>
                    <a:cubicBezTo>
                      <a:pt x="4244" y="0"/>
                      <a:pt x="4613" y="53"/>
                      <a:pt x="4958" y="155"/>
                    </a:cubicBezTo>
                    <a:lnTo>
                      <a:pt x="5125" y="4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5721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6" grpId="0"/>
      <p:bldP spid="8" grpId="0"/>
      <p:bldP spid="9" grpId="0"/>
      <p:bldP spid="10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7EA6362-FA99-6866-BCA0-C4548D5A6E91}"/>
              </a:ext>
            </a:extLst>
          </p:cNvPr>
          <p:cNvGrpSpPr/>
          <p:nvPr/>
        </p:nvGrpSpPr>
        <p:grpSpPr>
          <a:xfrm>
            <a:off x="2360770" y="1236447"/>
            <a:ext cx="7470461" cy="4385107"/>
            <a:chOff x="3806230" y="1236447"/>
            <a:chExt cx="7470461" cy="438510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7EF54EF-9408-EC98-3224-098C0EEED362}"/>
                </a:ext>
              </a:extLst>
            </p:cNvPr>
            <p:cNvGrpSpPr/>
            <p:nvPr/>
          </p:nvGrpSpPr>
          <p:grpSpPr>
            <a:xfrm>
              <a:off x="3806230" y="1236447"/>
              <a:ext cx="4579541" cy="4385107"/>
              <a:chOff x="3496383" y="1125610"/>
              <a:chExt cx="4579541" cy="4385107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8170EFF6-23C3-7CFE-6E8C-E157B956C426}"/>
                  </a:ext>
                </a:extLst>
              </p:cNvPr>
              <p:cNvSpPr/>
              <p:nvPr/>
            </p:nvSpPr>
            <p:spPr>
              <a:xfrm>
                <a:off x="4540935" y="1125610"/>
                <a:ext cx="2520000" cy="2520000"/>
              </a:xfrm>
              <a:prstGeom prst="ellipse">
                <a:avLst/>
              </a:prstGeom>
              <a:solidFill>
                <a:schemeClr val="accent1">
                  <a:alpha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73804759-0EB7-5896-12E4-4117220DF1B4}"/>
                  </a:ext>
                </a:extLst>
              </p:cNvPr>
              <p:cNvSpPr/>
              <p:nvPr/>
            </p:nvSpPr>
            <p:spPr>
              <a:xfrm>
                <a:off x="5451599" y="2073234"/>
                <a:ext cx="2520000" cy="252000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D244B983-D451-49F8-3684-83FC225408DC}"/>
                  </a:ext>
                </a:extLst>
              </p:cNvPr>
              <p:cNvSpPr/>
              <p:nvPr/>
            </p:nvSpPr>
            <p:spPr>
              <a:xfrm>
                <a:off x="3577464" y="2073234"/>
                <a:ext cx="2520000" cy="2520000"/>
              </a:xfrm>
              <a:prstGeom prst="ellipse">
                <a:avLst/>
              </a:prstGeom>
              <a:solidFill>
                <a:schemeClr val="accent2">
                  <a:alpha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AD72466A-F4F3-FDE4-1421-FA9D4101D892}"/>
                  </a:ext>
                </a:extLst>
              </p:cNvPr>
              <p:cNvSpPr/>
              <p:nvPr/>
            </p:nvSpPr>
            <p:spPr>
              <a:xfrm>
                <a:off x="4540935" y="2990717"/>
                <a:ext cx="2520000" cy="252000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26DF3DB-7803-0D23-7DA1-3B3CF3BA4AA5}"/>
                  </a:ext>
                </a:extLst>
              </p:cNvPr>
              <p:cNvSpPr txBox="1"/>
              <p:nvPr/>
            </p:nvSpPr>
            <p:spPr>
              <a:xfrm>
                <a:off x="5176550" y="1392072"/>
                <a:ext cx="124877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what you LOVE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30F46E8-3040-35C5-C581-D5A3902EACAA}"/>
                  </a:ext>
                </a:extLst>
              </p:cNvPr>
              <p:cNvSpPr txBox="1"/>
              <p:nvPr/>
            </p:nvSpPr>
            <p:spPr>
              <a:xfrm>
                <a:off x="4958186" y="4714761"/>
                <a:ext cx="16854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what you can be PAID FOR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764418D-CAEB-3C77-F176-3030A51C6A0A}"/>
                  </a:ext>
                </a:extLst>
              </p:cNvPr>
              <p:cNvSpPr txBox="1"/>
              <p:nvPr/>
            </p:nvSpPr>
            <p:spPr>
              <a:xfrm>
                <a:off x="3496383" y="2733070"/>
                <a:ext cx="124877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what </a:t>
                </a:r>
                <a:br>
                  <a:rPr lang="en-GB" dirty="0">
                    <a:solidFill>
                      <a:schemeClr val="bg1"/>
                    </a:solidFill>
                  </a:rPr>
                </a:br>
                <a:r>
                  <a:rPr lang="en-GB" dirty="0">
                    <a:solidFill>
                      <a:schemeClr val="bg1"/>
                    </a:solidFill>
                  </a:rPr>
                  <a:t>you are GOOD </a:t>
                </a:r>
                <a:br>
                  <a:rPr lang="en-GB" dirty="0">
                    <a:solidFill>
                      <a:schemeClr val="bg1"/>
                    </a:solidFill>
                  </a:rPr>
                </a:br>
                <a:r>
                  <a:rPr lang="en-GB" dirty="0">
                    <a:solidFill>
                      <a:schemeClr val="bg1"/>
                    </a:solidFill>
                  </a:rPr>
                  <a:t>AT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AC60C34-6E82-F397-B3D7-82FD8CB672B3}"/>
                  </a:ext>
                </a:extLst>
              </p:cNvPr>
              <p:cNvSpPr txBox="1"/>
              <p:nvPr/>
            </p:nvSpPr>
            <p:spPr>
              <a:xfrm>
                <a:off x="6827154" y="2871569"/>
                <a:ext cx="124877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>
                    <a:solidFill>
                      <a:schemeClr val="bg1"/>
                    </a:solidFill>
                  </a:rPr>
                  <a:t>what </a:t>
                </a:r>
                <a:br>
                  <a:rPr lang="en-GB" dirty="0">
                    <a:solidFill>
                      <a:schemeClr val="bg1"/>
                    </a:solidFill>
                  </a:rPr>
                </a:br>
                <a:r>
                  <a:rPr lang="en-GB" dirty="0">
                    <a:solidFill>
                      <a:schemeClr val="bg1"/>
                    </a:solidFill>
                  </a:rPr>
                  <a:t>the World NEEDS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0D02889-2936-A1B0-B149-19BFD9E9BA45}"/>
                  </a:ext>
                </a:extLst>
              </p:cNvPr>
              <p:cNvSpPr txBox="1"/>
              <p:nvPr/>
            </p:nvSpPr>
            <p:spPr>
              <a:xfrm>
                <a:off x="4626873" y="2483893"/>
                <a:ext cx="94300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600" b="1" dirty="0">
                    <a:solidFill>
                      <a:schemeClr val="bg1"/>
                    </a:solidFill>
                  </a:rPr>
                  <a:t>Passion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E80979D-E32E-B383-DB04-54B020E4444F}"/>
                  </a:ext>
                </a:extLst>
              </p:cNvPr>
              <p:cNvSpPr txBox="1"/>
              <p:nvPr/>
            </p:nvSpPr>
            <p:spPr>
              <a:xfrm>
                <a:off x="5953817" y="2483893"/>
                <a:ext cx="94300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600" b="1" dirty="0">
                    <a:solidFill>
                      <a:schemeClr val="bg1"/>
                    </a:solidFill>
                  </a:rPr>
                  <a:t>Mission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F71F765-3C12-86B0-CC1D-3D99A3FC4664}"/>
                  </a:ext>
                </a:extLst>
              </p:cNvPr>
              <p:cNvSpPr txBox="1"/>
              <p:nvPr/>
            </p:nvSpPr>
            <p:spPr>
              <a:xfrm>
                <a:off x="4554583" y="3844022"/>
                <a:ext cx="106677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600" b="1" dirty="0">
                    <a:solidFill>
                      <a:schemeClr val="bg1"/>
                    </a:solidFill>
                  </a:rPr>
                  <a:t>Profession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082073A-5181-E02E-4763-742D217EA611}"/>
                  </a:ext>
                </a:extLst>
              </p:cNvPr>
              <p:cNvSpPr txBox="1"/>
              <p:nvPr/>
            </p:nvSpPr>
            <p:spPr>
              <a:xfrm>
                <a:off x="5991649" y="3844022"/>
                <a:ext cx="94300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600" b="1" dirty="0">
                    <a:solidFill>
                      <a:schemeClr val="bg1"/>
                    </a:solidFill>
                  </a:rPr>
                  <a:t>Vocatio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45F3AF43-72E7-D4C3-B12B-81BA622E8C12}"/>
                  </a:ext>
                </a:extLst>
              </p:cNvPr>
              <p:cNvSpPr txBox="1"/>
              <p:nvPr/>
            </p:nvSpPr>
            <p:spPr>
              <a:xfrm>
                <a:off x="5308960" y="3127534"/>
                <a:ext cx="94300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000" b="1" dirty="0">
                    <a:solidFill>
                      <a:schemeClr val="accent3"/>
                    </a:solidFill>
                  </a:rPr>
                  <a:t>ikigai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063A6C1-A521-644C-6ED1-56AD86F3FB28}"/>
                </a:ext>
              </a:extLst>
            </p:cNvPr>
            <p:cNvSpPr txBox="1"/>
            <p:nvPr/>
          </p:nvSpPr>
          <p:spPr>
            <a:xfrm>
              <a:off x="8856634" y="1826074"/>
              <a:ext cx="2420057" cy="35394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800" b="1" dirty="0">
                  <a:solidFill>
                    <a:schemeClr val="bg1"/>
                  </a:solidFill>
                </a:rPr>
                <a:t>Ikigai: The Japanese Secret to a Joyful Life</a:t>
              </a:r>
            </a:p>
            <a:p>
              <a:endParaRPr lang="en-GB" sz="2800" dirty="0">
                <a:solidFill>
                  <a:schemeClr val="bg1"/>
                </a:solidFill>
              </a:endParaRPr>
            </a:p>
            <a:p>
              <a:r>
                <a:rPr lang="en-GB" sz="2800" dirty="0">
                  <a:solidFill>
                    <a:schemeClr val="bg1"/>
                  </a:solidFill>
                </a:rPr>
                <a:t>A passion that gives value and joy to life.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0C9BB46A-6B7C-DCA4-1B14-07CA40972455}"/>
              </a:ext>
            </a:extLst>
          </p:cNvPr>
          <p:cNvSpPr txBox="1"/>
          <p:nvPr/>
        </p:nvSpPr>
        <p:spPr>
          <a:xfrm>
            <a:off x="4326915" y="6246190"/>
            <a:ext cx="35381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Venn diagram based on design by Hector Garcia, author of </a:t>
            </a:r>
            <a:r>
              <a:rPr lang="en-GB" sz="1000" b="1" i="1" dirty="0">
                <a:solidFill>
                  <a:schemeClr val="bg1"/>
                </a:solidFill>
              </a:rPr>
              <a:t>Ikigai: The Japanese Secret to a Long and Happy Life</a:t>
            </a:r>
            <a:endParaRPr lang="en-GB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24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tnHadZZVmzIPUqXrDk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b_agaRYz48eWtW2kvu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5G7afn0BoPTIKRQCa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PMP">
      <a:dk1>
        <a:srgbClr val="23313D"/>
      </a:dk1>
      <a:lt1>
        <a:srgbClr val="FFFFFF"/>
      </a:lt1>
      <a:dk2>
        <a:srgbClr val="00B0F0"/>
      </a:dk2>
      <a:lt2>
        <a:srgbClr val="D3DCE5"/>
      </a:lt2>
      <a:accent1>
        <a:srgbClr val="00B0F0"/>
      </a:accent1>
      <a:accent2>
        <a:srgbClr val="2EC170"/>
      </a:accent2>
      <a:accent3>
        <a:srgbClr val="2C76DC"/>
      </a:accent3>
      <a:accent4>
        <a:srgbClr val="EA7E07"/>
      </a:accent4>
      <a:accent5>
        <a:srgbClr val="E20325"/>
      </a:accent5>
      <a:accent6>
        <a:srgbClr val="D2C208"/>
      </a:accent6>
      <a:hlink>
        <a:srgbClr val="00B0F0"/>
      </a:hlink>
      <a:folHlink>
        <a:srgbClr val="8496B0"/>
      </a:folHlink>
    </a:clrScheme>
    <a:fontScheme name="APMP">
      <a:majorFont>
        <a:latin typeface="Segoe Light"/>
        <a:ea typeface=""/>
        <a:cs typeface=""/>
      </a:majorFont>
      <a:minorFont>
        <a:latin typeface="Sego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B02D9E59BD704AA785121F723D3071" ma:contentTypeVersion="6" ma:contentTypeDescription="Create a new document." ma:contentTypeScope="" ma:versionID="a1b67a6933d6ddc213940053c9067ae8">
  <xsd:schema xmlns:xsd="http://www.w3.org/2001/XMLSchema" xmlns:xs="http://www.w3.org/2001/XMLSchema" xmlns:p="http://schemas.microsoft.com/office/2006/metadata/properties" xmlns:ns2="1464b044-edc5-41d0-a7bc-6d0960b3f9c7" xmlns:ns3="f3f14723-d4fb-4d48-919b-0a69904e9a72" targetNamespace="http://schemas.microsoft.com/office/2006/metadata/properties" ma:root="true" ma:fieldsID="97ee26bb70aeb3b3c26040c1749e1fbc" ns2:_="" ns3:_="">
    <xsd:import namespace="1464b044-edc5-41d0-a7bc-6d0960b3f9c7"/>
    <xsd:import namespace="f3f14723-d4fb-4d48-919b-0a69904e9a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64b044-edc5-41d0-a7bc-6d0960b3f9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f14723-d4fb-4d48-919b-0a69904e9a72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BF305E-E04B-4E91-8CBD-B8FAD3CDC9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64b044-edc5-41d0-a7bc-6d0960b3f9c7"/>
    <ds:schemaRef ds:uri="f3f14723-d4fb-4d48-919b-0a69904e9a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90C7B3-878D-46E6-A81C-1F555C9255D9}">
  <ds:schemaRefs>
    <ds:schemaRef ds:uri="http://purl.org/dc/elements/1.1/"/>
    <ds:schemaRef ds:uri="1464b044-edc5-41d0-a7bc-6d0960b3f9c7"/>
    <ds:schemaRef ds:uri="http://purl.org/dc/dcmitype/"/>
    <ds:schemaRef ds:uri="http://schemas.microsoft.com/office/2006/documentManagement/type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f3f14723-d4fb-4d48-919b-0a69904e9a72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5086387-7691-4476-9030-7C763DD47D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2344</Words>
  <Application>Microsoft Macintosh PowerPoint</Application>
  <PresentationFormat>Widescreen</PresentationFormat>
  <Paragraphs>312</Paragraphs>
  <Slides>27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Segoe</vt:lpstr>
      <vt:lpstr>Segoe Light</vt:lpstr>
      <vt:lpstr>Segoe Semibold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ole of Bid and Proposal in Sa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porting Materi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comber, Krystn</dc:creator>
  <cp:lastModifiedBy>Mel Bunston</cp:lastModifiedBy>
  <cp:revision>481</cp:revision>
  <dcterms:created xsi:type="dcterms:W3CDTF">2021-02-04T20:36:08Z</dcterms:created>
  <dcterms:modified xsi:type="dcterms:W3CDTF">2025-09-04T16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B02D9E59BD704AA785121F723D3071</vt:lpwstr>
  </property>
</Properties>
</file>